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858" r:id="rId6"/>
  </p:sldMasterIdLst>
  <p:notesMasterIdLst>
    <p:notesMasterId r:id="rId35"/>
  </p:notesMasterIdLst>
  <p:handoutMasterIdLst>
    <p:handoutMasterId r:id="rId36"/>
  </p:handoutMasterIdLst>
  <p:sldIdLst>
    <p:sldId id="1396" r:id="rId7"/>
    <p:sldId id="1397" r:id="rId8"/>
    <p:sldId id="1394" r:id="rId9"/>
    <p:sldId id="1404" r:id="rId10"/>
    <p:sldId id="1416" r:id="rId11"/>
    <p:sldId id="1366" r:id="rId12"/>
    <p:sldId id="1368" r:id="rId13"/>
    <p:sldId id="1413" r:id="rId14"/>
    <p:sldId id="1419" r:id="rId15"/>
    <p:sldId id="1418" r:id="rId16"/>
    <p:sldId id="1405" r:id="rId17"/>
    <p:sldId id="1406" r:id="rId18"/>
    <p:sldId id="1407" r:id="rId19"/>
    <p:sldId id="1408" r:id="rId20"/>
    <p:sldId id="1409" r:id="rId21"/>
    <p:sldId id="1410" r:id="rId22"/>
    <p:sldId id="1411" r:id="rId23"/>
    <p:sldId id="1370" r:id="rId24"/>
    <p:sldId id="1415" r:id="rId25"/>
    <p:sldId id="1412" r:id="rId26"/>
    <p:sldId id="1372" r:id="rId27"/>
    <p:sldId id="1393" r:id="rId28"/>
    <p:sldId id="1400" r:id="rId29"/>
    <p:sldId id="1398" r:id="rId30"/>
    <p:sldId id="1399" r:id="rId31"/>
    <p:sldId id="1420" r:id="rId32"/>
    <p:sldId id="1417" r:id="rId33"/>
    <p:sldId id="1326" r:id="rId34"/>
  </p:sldIdLst>
  <p:sldSz cx="12436475" cy="6994525"/>
  <p:notesSz cx="7315200" cy="9601200"/>
  <p:defaultTex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harat Sandhu" initials="BS" lastIdx="9" clrIdx="0">
    <p:extLst>
      <p:ext uri="{19B8F6BF-5375-455C-9EA6-DF929625EA0E}">
        <p15:presenceInfo xmlns:p15="http://schemas.microsoft.com/office/powerpoint/2012/main" userId="S-1-5-21-124525095-708259637-1543119021-91547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83C"/>
    <a:srgbClr val="00188F"/>
    <a:srgbClr val="002050"/>
    <a:srgbClr val="505050"/>
    <a:srgbClr val="59B4D9"/>
    <a:srgbClr val="B9D80A"/>
    <a:srgbClr val="3E3E3E"/>
    <a:srgbClr val="7B7A7A"/>
    <a:srgbClr val="7AC3E1"/>
    <a:srgbClr val="FFD7A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994" autoAdjust="0"/>
  </p:normalViewPr>
  <p:slideViewPr>
    <p:cSldViewPr>
      <p:cViewPr varScale="1">
        <p:scale>
          <a:sx n="94" d="100"/>
          <a:sy n="94" d="100"/>
        </p:scale>
        <p:origin x="360" y="66"/>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p:cViewPr varScale="1">
        <p:scale>
          <a:sx n="83" d="100"/>
          <a:sy n="83" d="100"/>
        </p:scale>
        <p:origin x="3852" y="96"/>
      </p:cViewPr>
      <p:guideLst>
        <p:guide orient="horz" pos="3024"/>
        <p:guide pos="2304"/>
      </p:guideLst>
    </p:cSldViewPr>
  </p:notesViewPr>
  <p:gridSpacing cx="91439" cy="91439"/>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microsoft.com/office/2015/10/relationships/revisionInfo" Target="revisionInfo.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handoutMaster" Target="handoutMasters/handout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668"/>
            <a:ext cx="3169920" cy="480061"/>
          </a:xfrm>
          <a:prstGeom prst="rect">
            <a:avLst/>
          </a:prstGeom>
        </p:spPr>
        <p:txBody>
          <a:bodyPr vert="horz" lIns="96661" tIns="48331" rIns="96661" bIns="48331" rtlCol="0"/>
          <a:lstStyle>
            <a:lvl1pPr algn="l" defTabSz="986002" eaLnBrk="1" fontAlgn="auto" hangingPunct="1">
              <a:spcBef>
                <a:spcPts val="0"/>
              </a:spcBef>
              <a:spcAft>
                <a:spcPts val="0"/>
              </a:spcAft>
              <a:defRPr sz="1300">
                <a:latin typeface="Segoe UI" pitchFamily="34" charset="0"/>
                <a:ea typeface="+mn-ea"/>
                <a:cs typeface="+mn-cs"/>
              </a:defRPr>
            </a:lvl1pPr>
          </a:lstStyle>
          <a:p>
            <a:pPr>
              <a:defRPr/>
            </a:pPr>
            <a:endParaRPr lang="en-US"/>
          </a:p>
        </p:txBody>
      </p:sp>
      <p:sp>
        <p:nvSpPr>
          <p:cNvPr id="7" name="Date Placeholder 6"/>
          <p:cNvSpPr>
            <a:spLocks noGrp="1"/>
          </p:cNvSpPr>
          <p:nvPr>
            <p:ph type="dt" sz="quarter" idx="1"/>
          </p:nvPr>
        </p:nvSpPr>
        <p:spPr>
          <a:xfrm>
            <a:off x="4143587" y="0"/>
            <a:ext cx="3169920" cy="480060"/>
          </a:xfrm>
          <a:prstGeom prst="rect">
            <a:avLst/>
          </a:prstGeom>
        </p:spPr>
        <p:txBody>
          <a:bodyPr vert="horz" wrap="square" lIns="96661" tIns="48331" rIns="96661" bIns="48331" numCol="1" anchor="t" anchorCtr="0" compatLnSpc="1">
            <a:prstTxWarp prst="textNoShape">
              <a:avLst/>
            </a:prstTxWarp>
          </a:bodyPr>
          <a:lstStyle>
            <a:lvl1pPr algn="r" eaLnBrk="1" hangingPunct="1">
              <a:defRPr sz="1300"/>
            </a:lvl1pPr>
          </a:lstStyle>
          <a:p>
            <a:pPr>
              <a:defRPr/>
            </a:pPr>
            <a:fld id="{B74FFB76-0B8A-4C65-A0EF-520F6A661B81}" type="datetime8">
              <a:rPr lang="en-US" altLang="en-US"/>
              <a:pPr>
                <a:defRPr/>
              </a:pPr>
              <a:t>6/7/2017 2:00 PM</a:t>
            </a:fld>
            <a:endParaRPr lang="en-US" altLang="en-US"/>
          </a:p>
        </p:txBody>
      </p:sp>
      <p:sp>
        <p:nvSpPr>
          <p:cNvPr id="8" name="Footer Placeholder 7"/>
          <p:cNvSpPr>
            <a:spLocks noGrp="1"/>
          </p:cNvSpPr>
          <p:nvPr>
            <p:ph type="ftr" sz="quarter" idx="2"/>
          </p:nvPr>
        </p:nvSpPr>
        <p:spPr>
          <a:xfrm>
            <a:off x="0" y="9119474"/>
            <a:ext cx="6180667" cy="348376"/>
          </a:xfrm>
          <a:prstGeom prst="rect">
            <a:avLst/>
          </a:prstGeom>
        </p:spPr>
        <p:txBody>
          <a:bodyPr vert="horz" wrap="square" lIns="96661" tIns="48331" rIns="96661" bIns="48331" numCol="1" anchor="b" anchorCtr="0" compatLnSpc="1">
            <a:prstTxWarp prst="textNoShape">
              <a:avLst/>
            </a:prstTxWarp>
          </a:bodyPr>
          <a:lstStyle>
            <a:lvl1pPr marL="421215" defTabSz="964935" eaLnBrk="0" hangingPunct="0">
              <a:defRPr sz="400">
                <a:cs typeface="Segoe UI" panose="020B0502040204020203" pitchFamily="34" charset="0"/>
              </a:defRPr>
            </a:lvl1pPr>
          </a:lstStyle>
          <a:p>
            <a:pPr>
              <a:defRPr/>
            </a:pPr>
            <a:r>
              <a:rPr lang="en-US" altLang="en-US"/>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6168814" y="9119474"/>
            <a:ext cx="1144693" cy="480060"/>
          </a:xfrm>
          <a:prstGeom prst="rect">
            <a:avLst/>
          </a:prstGeom>
        </p:spPr>
        <p:txBody>
          <a:bodyPr vert="horz" wrap="square" lIns="96661" tIns="48331" rIns="96661" bIns="48331" numCol="1" anchor="b" anchorCtr="0" compatLnSpc="1">
            <a:prstTxWarp prst="textNoShape">
              <a:avLst/>
            </a:prstTxWarp>
          </a:bodyPr>
          <a:lstStyle>
            <a:lvl1pPr algn="r" eaLnBrk="1" hangingPunct="1">
              <a:defRPr sz="1300"/>
            </a:lvl1pPr>
          </a:lstStyle>
          <a:p>
            <a:pPr>
              <a:defRPr/>
            </a:pPr>
            <a:fld id="{7DBAE618-56C7-4732-A3DF-8554701DB396}" type="slidenum">
              <a:rPr lang="en-US" altLang="en-US"/>
              <a:pPr>
                <a:defRPr/>
              </a:pPr>
              <a:t>‹#›</a:t>
            </a:fld>
            <a:endParaRPr lang="en-US" altLang="en-US"/>
          </a:p>
        </p:txBody>
      </p:sp>
    </p:spTree>
    <p:extLst>
      <p:ext uri="{BB962C8B-B14F-4D97-AF65-F5344CB8AC3E}">
        <p14:creationId xmlns:p14="http://schemas.microsoft.com/office/powerpoint/2010/main" val="441868376"/>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169920" cy="480060"/>
          </a:xfrm>
          <a:prstGeom prst="rect">
            <a:avLst/>
          </a:prstGeom>
        </p:spPr>
        <p:txBody>
          <a:bodyPr vert="horz" lIns="96661" tIns="48331" rIns="96661" bIns="48331" rtlCol="0"/>
          <a:lstStyle>
            <a:lvl1pPr algn="l" defTabSz="986002" eaLnBrk="1" fontAlgn="auto" hangingPunct="1">
              <a:spcBef>
                <a:spcPts val="0"/>
              </a:spcBef>
              <a:spcAft>
                <a:spcPts val="0"/>
              </a:spcAft>
              <a:defRPr sz="1300">
                <a:latin typeface="Segoe UI" pitchFamily="34" charset="0"/>
                <a:ea typeface="+mn-ea"/>
                <a:cs typeface="+mn-cs"/>
              </a:defRPr>
            </a:lvl1pPr>
          </a:lstStyle>
          <a:p>
            <a:pPr>
              <a:defRPr/>
            </a:pPr>
            <a:endParaRPr lang="en-US"/>
          </a:p>
        </p:txBody>
      </p:sp>
      <p:sp>
        <p:nvSpPr>
          <p:cNvPr id="9" name="Slide Image Placeholder 8"/>
          <p:cNvSpPr>
            <a:spLocks noGrp="1" noRot="1" noChangeAspect="1"/>
          </p:cNvSpPr>
          <p:nvPr>
            <p:ph type="sldImg" idx="2"/>
          </p:nvPr>
        </p:nvSpPr>
        <p:spPr>
          <a:xfrm>
            <a:off x="457200" y="720725"/>
            <a:ext cx="6400800" cy="3600450"/>
          </a:xfrm>
          <a:prstGeom prst="rect">
            <a:avLst/>
          </a:prstGeom>
          <a:noFill/>
          <a:ln w="12700">
            <a:solidFill>
              <a:prstClr val="black"/>
            </a:solidFill>
          </a:ln>
        </p:spPr>
        <p:txBody>
          <a:bodyPr vert="horz" lIns="96661" tIns="48331" rIns="96661" bIns="48331" rtlCol="0" anchor="ctr"/>
          <a:lstStyle/>
          <a:p>
            <a:pPr lvl="0"/>
            <a:endParaRPr lang="en-US" noProof="0" dirty="0"/>
          </a:p>
        </p:txBody>
      </p:sp>
      <p:sp>
        <p:nvSpPr>
          <p:cNvPr id="10" name="Footer Placeholder 9"/>
          <p:cNvSpPr>
            <a:spLocks noGrp="1"/>
          </p:cNvSpPr>
          <p:nvPr>
            <p:ph type="ftr" sz="quarter" idx="4"/>
          </p:nvPr>
        </p:nvSpPr>
        <p:spPr>
          <a:xfrm>
            <a:off x="1" y="9121140"/>
            <a:ext cx="6316133" cy="373380"/>
          </a:xfrm>
          <a:prstGeom prst="rect">
            <a:avLst/>
          </a:prstGeom>
        </p:spPr>
        <p:txBody>
          <a:bodyPr vert="horz" wrap="square" lIns="96661" tIns="48331" rIns="96661" bIns="48331" numCol="1" anchor="b" anchorCtr="0" compatLnSpc="1">
            <a:prstTxWarp prst="textNoShape">
              <a:avLst/>
            </a:prstTxWarp>
          </a:bodyPr>
          <a:lstStyle>
            <a:lvl1pPr marL="604133" defTabSz="964935" eaLnBrk="0" hangingPunct="0">
              <a:defRPr sz="400">
                <a:cs typeface="Segoe UI" panose="020B0502040204020203" pitchFamily="34" charset="0"/>
              </a:defRPr>
            </a:lvl1pPr>
          </a:lstStyle>
          <a:p>
            <a:pPr>
              <a:defRPr/>
            </a:pPr>
            <a:r>
              <a:rPr lang="en-US" altLang="en-US"/>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4143587" y="0"/>
            <a:ext cx="3169920" cy="480060"/>
          </a:xfrm>
          <a:prstGeom prst="rect">
            <a:avLst/>
          </a:prstGeom>
        </p:spPr>
        <p:txBody>
          <a:bodyPr vert="horz" wrap="square" lIns="96661" tIns="48331" rIns="96661" bIns="48331" numCol="1" anchor="t" anchorCtr="0" compatLnSpc="1">
            <a:prstTxWarp prst="textNoShape">
              <a:avLst/>
            </a:prstTxWarp>
          </a:bodyPr>
          <a:lstStyle>
            <a:lvl1pPr algn="r" eaLnBrk="1" hangingPunct="1">
              <a:defRPr sz="1300"/>
            </a:lvl1pPr>
          </a:lstStyle>
          <a:p>
            <a:pPr>
              <a:defRPr/>
            </a:pPr>
            <a:fld id="{DE598D99-56EC-44B0-A1F1-DED5A5FDAEC8}" type="datetime8">
              <a:rPr lang="en-US" altLang="en-US"/>
              <a:pPr>
                <a:defRPr/>
              </a:pPr>
              <a:t>6/7/2017 1:57 PM</a:t>
            </a:fld>
            <a:endParaRPr lang="en-US" altLang="en-US"/>
          </a:p>
        </p:txBody>
      </p:sp>
      <p:sp>
        <p:nvSpPr>
          <p:cNvPr id="12" name="Notes Placeholder 11"/>
          <p:cNvSpPr>
            <a:spLocks noGrp="1"/>
          </p:cNvSpPr>
          <p:nvPr>
            <p:ph type="body" sz="quarter" idx="3"/>
          </p:nvPr>
        </p:nvSpPr>
        <p:spPr>
          <a:xfrm>
            <a:off x="731520" y="4560570"/>
            <a:ext cx="5852160" cy="4320540"/>
          </a:xfrm>
          <a:prstGeom prst="rect">
            <a:avLst/>
          </a:prstGeom>
        </p:spPr>
        <p:txBody>
          <a:bodyPr vert="horz" lIns="96661" tIns="48331" rIns="96661" bIns="48331"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Slide Number Placeholder 12"/>
          <p:cNvSpPr>
            <a:spLocks noGrp="1"/>
          </p:cNvSpPr>
          <p:nvPr>
            <p:ph type="sldNum" sz="quarter" idx="5"/>
          </p:nvPr>
        </p:nvSpPr>
        <p:spPr>
          <a:xfrm>
            <a:off x="6302586" y="9119474"/>
            <a:ext cx="1010921" cy="480060"/>
          </a:xfrm>
          <a:prstGeom prst="rect">
            <a:avLst/>
          </a:prstGeom>
        </p:spPr>
        <p:txBody>
          <a:bodyPr vert="horz" wrap="square" lIns="96661" tIns="48331" rIns="96661" bIns="48331" numCol="1" anchor="b" anchorCtr="0" compatLnSpc="1">
            <a:prstTxWarp prst="textNoShape">
              <a:avLst/>
            </a:prstTxWarp>
          </a:bodyPr>
          <a:lstStyle>
            <a:lvl1pPr algn="r" eaLnBrk="1" hangingPunct="1">
              <a:defRPr sz="1300"/>
            </a:lvl1pPr>
          </a:lstStyle>
          <a:p>
            <a:pPr>
              <a:defRPr/>
            </a:pPr>
            <a:fld id="{AE0CBDBD-C344-44AE-A370-0846076D6E08}" type="slidenum">
              <a:rPr lang="en-US" altLang="en-US"/>
              <a:pPr>
                <a:defRPr/>
              </a:pPr>
              <a:t>‹#›</a:t>
            </a:fld>
            <a:endParaRPr lang="en-US" altLang="en-US"/>
          </a:p>
        </p:txBody>
      </p:sp>
    </p:spTree>
    <p:extLst>
      <p:ext uri="{BB962C8B-B14F-4D97-AF65-F5344CB8AC3E}">
        <p14:creationId xmlns:p14="http://schemas.microsoft.com/office/powerpoint/2010/main" val="1837190840"/>
      </p:ext>
    </p:extLst>
  </p:cSld>
  <p:clrMap bg1="lt1" tx1="dk1" bg2="lt2" tx2="dk2" accent1="accent1" accent2="accent2" accent3="accent3" accent4="accent4" accent5="accent5" accent6="accent6" hlink="hlink" folHlink="folHlink"/>
  <p:hf/>
  <p:notesStyle>
    <a:lvl1pPr algn="l" defTabSz="931863" rtl="0" eaLnBrk="0" fontAlgn="base" hangingPunct="0">
      <a:lnSpc>
        <a:spcPct val="90000"/>
      </a:lnSpc>
      <a:spcBef>
        <a:spcPct val="30000"/>
      </a:spcBef>
      <a:spcAft>
        <a:spcPts val="338"/>
      </a:spcAft>
      <a:defRPr sz="900" kern="1200">
        <a:solidFill>
          <a:schemeClr val="tx1"/>
        </a:solidFill>
        <a:latin typeface="Segoe UI Light" pitchFamily="34" charset="0"/>
        <a:ea typeface="MS PGothic" panose="020B0600070205080204" pitchFamily="34" charset="-128"/>
        <a:cs typeface="ＭＳ Ｐゴシック" charset="0"/>
      </a:defRPr>
    </a:lvl1pPr>
    <a:lvl2pPr marL="215900" indent="-107950" algn="l" defTabSz="931863" rtl="0" eaLnBrk="0" fontAlgn="base" hangingPunct="0">
      <a:lnSpc>
        <a:spcPct val="90000"/>
      </a:lnSpc>
      <a:spcBef>
        <a:spcPct val="30000"/>
      </a:spcBef>
      <a:spcAft>
        <a:spcPts val="338"/>
      </a:spcAft>
      <a:buFont typeface="Arial" panose="020B0604020202020204" pitchFamily="34" charset="0"/>
      <a:buChar char="•"/>
      <a:defRPr sz="900" kern="1200">
        <a:solidFill>
          <a:schemeClr val="tx1"/>
        </a:solidFill>
        <a:latin typeface="Segoe UI Light" pitchFamily="34" charset="0"/>
        <a:ea typeface="MS PGothic" panose="020B0600070205080204" pitchFamily="34" charset="-128"/>
        <a:cs typeface="+mn-cs"/>
      </a:defRPr>
    </a:lvl2pPr>
    <a:lvl3pPr marL="333375" indent="-115888" algn="l" defTabSz="931863" rtl="0" eaLnBrk="0" fontAlgn="base" hangingPunct="0">
      <a:lnSpc>
        <a:spcPct val="90000"/>
      </a:lnSpc>
      <a:spcBef>
        <a:spcPct val="30000"/>
      </a:spcBef>
      <a:spcAft>
        <a:spcPts val="338"/>
      </a:spcAft>
      <a:buFont typeface="Arial" panose="020B0604020202020204" pitchFamily="34" charset="0"/>
      <a:buChar char="•"/>
      <a:defRPr sz="900" kern="1200">
        <a:solidFill>
          <a:schemeClr val="tx1"/>
        </a:solidFill>
        <a:latin typeface="Segoe UI Light" pitchFamily="34" charset="0"/>
        <a:ea typeface="MS PGothic" panose="020B0600070205080204" pitchFamily="34" charset="-128"/>
        <a:cs typeface="+mn-cs"/>
      </a:defRPr>
    </a:lvl3pPr>
    <a:lvl4pPr marL="492125" indent="-149225" algn="l" defTabSz="931863" rtl="0" eaLnBrk="0" fontAlgn="base" hangingPunct="0">
      <a:lnSpc>
        <a:spcPct val="90000"/>
      </a:lnSpc>
      <a:spcBef>
        <a:spcPct val="30000"/>
      </a:spcBef>
      <a:spcAft>
        <a:spcPts val="338"/>
      </a:spcAft>
      <a:buFont typeface="Arial" panose="020B0604020202020204" pitchFamily="34" charset="0"/>
      <a:buChar char="•"/>
      <a:defRPr sz="900" kern="1200">
        <a:solidFill>
          <a:schemeClr val="tx1"/>
        </a:solidFill>
        <a:latin typeface="Segoe UI Light" pitchFamily="34" charset="0"/>
        <a:ea typeface="MS PGothic" panose="020B0600070205080204" pitchFamily="34" charset="-128"/>
        <a:cs typeface="+mn-cs"/>
      </a:defRPr>
    </a:lvl4pPr>
    <a:lvl5pPr marL="627063" indent="-115888" algn="l" defTabSz="931863" rtl="0" eaLnBrk="0" fontAlgn="base" hangingPunct="0">
      <a:lnSpc>
        <a:spcPct val="90000"/>
      </a:lnSpc>
      <a:spcBef>
        <a:spcPct val="30000"/>
      </a:spcBef>
      <a:spcAft>
        <a:spcPts val="338"/>
      </a:spcAft>
      <a:buFont typeface="Arial" panose="020B0604020202020204" pitchFamily="34" charset="0"/>
      <a:buChar char="•"/>
      <a:defRPr sz="900" kern="1200">
        <a:solidFill>
          <a:schemeClr val="tx1"/>
        </a:solidFill>
        <a:latin typeface="Segoe UI Light" pitchFamily="34" charset="0"/>
        <a:ea typeface="MS PGothic" panose="020B0600070205080204" pitchFamily="34" charset="-128"/>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000" b="1" dirty="0">
                <a:ea typeface="ＭＳ Ｐゴシック" charset="0"/>
              </a:rPr>
              <a:t> </a:t>
            </a:r>
            <a:endParaRPr lang="en-US" dirty="0"/>
          </a:p>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DE598D99-56EC-44B0-A1F1-DED5A5FDAEC8}" type="datetime8">
              <a:rPr lang="en-US" altLang="en-US" smtClean="0"/>
              <a:pPr>
                <a:defRPr/>
              </a:pPr>
              <a:t>6/7/2017 1:57 P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1</a:t>
            </a:fld>
            <a:endParaRPr lang="en-US" altLang="en-US"/>
          </a:p>
        </p:txBody>
      </p:sp>
    </p:spTree>
    <p:extLst>
      <p:ext uri="{BB962C8B-B14F-4D97-AF65-F5344CB8AC3E}">
        <p14:creationId xmlns:p14="http://schemas.microsoft.com/office/powerpoint/2010/main" val="28867730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A5F27D4-9122-47BC-9AC6-5C9D2E3822B3}" type="datetime1">
              <a:rPr lang="en-US" smtClean="0">
                <a:solidFill>
                  <a:prstClr val="black"/>
                </a:solidFill>
              </a:rPr>
              <a:pPr/>
              <a:t>6/7/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1406585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85072">
              <a:spcAft>
                <a:spcPts val="357"/>
              </a:spcAft>
              <a:defRPr/>
            </a:pPr>
            <a:r>
              <a:rPr lang="en-US" dirty="0"/>
              <a:t>IoT Hub provides a vast variety of SDKs for devices</a:t>
            </a:r>
            <a:r>
              <a:rPr lang="en-US" baseline="0" dirty="0"/>
              <a:t> and services.  There are 2 different flavors – ones that are device facing and target at device and field gateways. These provide the best variety for platforms and languages.  The there are ones that are service facing and targeted at application back ends and cloud gateways and support many languages.  </a:t>
            </a:r>
            <a:endParaRPr lang="en-US" dirty="0"/>
          </a:p>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DE598D99-56EC-44B0-A1F1-DED5A5FDAEC8}" type="datetime8">
              <a:rPr lang="en-US" altLang="en-US" smtClean="0"/>
              <a:pPr>
                <a:defRPr/>
              </a:pPr>
              <a:t>6/7/2017 1:57 P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11</a:t>
            </a:fld>
            <a:endParaRPr lang="en-US" altLang="en-US"/>
          </a:p>
        </p:txBody>
      </p:sp>
    </p:spTree>
    <p:extLst>
      <p:ext uri="{BB962C8B-B14F-4D97-AF65-F5344CB8AC3E}">
        <p14:creationId xmlns:p14="http://schemas.microsoft.com/office/powerpoint/2010/main" val="38245579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85072">
              <a:spcAft>
                <a:spcPts val="357"/>
              </a:spcAft>
              <a:defRPr/>
            </a:pPr>
            <a:r>
              <a:rPr lang="en-US" dirty="0"/>
              <a:t>IoT Hub provides a vast variety of SDKs for devices</a:t>
            </a:r>
            <a:r>
              <a:rPr lang="en-US" baseline="0" dirty="0"/>
              <a:t> and services.  There are 2 different flavors – ones that are device facing and target at device and field gateways. These provide the best variety for platforms and languages.  The there are ones that are service facing and targeted at application back ends and cloud gateways and support many languages.  </a:t>
            </a:r>
            <a:endParaRPr lang="en-US" dirty="0"/>
          </a:p>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DE598D99-56EC-44B0-A1F1-DED5A5FDAEC8}" type="datetime8">
              <a:rPr lang="en-US" altLang="en-US" smtClean="0"/>
              <a:pPr>
                <a:defRPr/>
              </a:pPr>
              <a:t>6/7/2017 1:57 P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12</a:t>
            </a:fld>
            <a:endParaRPr lang="en-US" altLang="en-US"/>
          </a:p>
        </p:txBody>
      </p:sp>
    </p:spTree>
    <p:extLst>
      <p:ext uri="{BB962C8B-B14F-4D97-AF65-F5344CB8AC3E}">
        <p14:creationId xmlns:p14="http://schemas.microsoft.com/office/powerpoint/2010/main" val="23302784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i="0" kern="1200" dirty="0">
                <a:solidFill>
                  <a:schemeClr val="tx1"/>
                </a:solidFill>
                <a:effectLst/>
                <a:latin typeface="Segoe UI Light" pitchFamily="34" charset="0"/>
                <a:ea typeface="MS PGothic" panose="020B0600070205080204" pitchFamily="34" charset="-128"/>
                <a:cs typeface="ＭＳ Ｐゴシック" charset="0"/>
              </a:rPr>
              <a:t>Reboot</a:t>
            </a:r>
            <a:r>
              <a:rPr lang="en-US" sz="900" b="0" i="0" kern="1200" dirty="0">
                <a:solidFill>
                  <a:schemeClr val="tx1"/>
                </a:solidFill>
                <a:effectLst/>
                <a:latin typeface="Segoe UI Light" pitchFamily="34" charset="0"/>
                <a:ea typeface="MS PGothic" panose="020B0600070205080204" pitchFamily="34" charset="-128"/>
                <a:cs typeface="ＭＳ Ｐゴシック" charset="0"/>
              </a:rPr>
              <a:t> - The back-end app informs the device through a direct method that it has initiated a reboot. The device uses the reported properties to update the reboot status of the device.</a:t>
            </a:r>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DE598D99-56EC-44B0-A1F1-DED5A5FDAEC8}" type="datetime8">
              <a:rPr lang="en-US" altLang="en-US" smtClean="0"/>
              <a:pPr>
                <a:defRPr/>
              </a:pPr>
              <a:t>6/7/2017 1:57 P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13</a:t>
            </a:fld>
            <a:endParaRPr lang="en-US" altLang="en-US"/>
          </a:p>
        </p:txBody>
      </p:sp>
    </p:spTree>
    <p:extLst>
      <p:ext uri="{BB962C8B-B14F-4D97-AF65-F5344CB8AC3E}">
        <p14:creationId xmlns:p14="http://schemas.microsoft.com/office/powerpoint/2010/main" val="22047734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i="0" kern="1200" dirty="0">
                <a:solidFill>
                  <a:schemeClr val="tx1"/>
                </a:solidFill>
                <a:effectLst/>
                <a:latin typeface="Segoe UI Light" pitchFamily="34" charset="0"/>
                <a:ea typeface="MS PGothic" panose="020B0600070205080204" pitchFamily="34" charset="-128"/>
                <a:cs typeface="ＭＳ Ｐゴシック" charset="0"/>
              </a:rPr>
              <a:t>Factory Reset</a:t>
            </a:r>
            <a:r>
              <a:rPr lang="en-US" sz="900" b="0" i="0" kern="1200" dirty="0">
                <a:solidFill>
                  <a:schemeClr val="tx1"/>
                </a:solidFill>
                <a:effectLst/>
                <a:latin typeface="Segoe UI Light" pitchFamily="34" charset="0"/>
                <a:ea typeface="MS PGothic" panose="020B0600070205080204" pitchFamily="34" charset="-128"/>
                <a:cs typeface="ＭＳ Ｐゴシック" charset="0"/>
              </a:rPr>
              <a:t> - The back-end app informs the device through a direct method that it has initiated a factory reset. The device uses the reported properties to update the factory reset status of the device.</a:t>
            </a:r>
          </a:p>
          <a:p>
            <a:br>
              <a:rPr lang="en-US" dirty="0"/>
            </a:br>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DE598D99-56EC-44B0-A1F1-DED5A5FDAEC8}" type="datetime8">
              <a:rPr lang="en-US" altLang="en-US" smtClean="0"/>
              <a:pPr>
                <a:defRPr/>
              </a:pPr>
              <a:t>6/7/2017 1:57 P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14</a:t>
            </a:fld>
            <a:endParaRPr lang="en-US" altLang="en-US"/>
          </a:p>
        </p:txBody>
      </p:sp>
    </p:spTree>
    <p:extLst>
      <p:ext uri="{BB962C8B-B14F-4D97-AF65-F5344CB8AC3E}">
        <p14:creationId xmlns:p14="http://schemas.microsoft.com/office/powerpoint/2010/main" val="31156519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i="0" kern="1200" dirty="0">
                <a:solidFill>
                  <a:schemeClr val="tx1"/>
                </a:solidFill>
                <a:effectLst/>
                <a:latin typeface="Segoe UI Light" pitchFamily="34" charset="0"/>
                <a:ea typeface="MS PGothic" panose="020B0600070205080204" pitchFamily="34" charset="-128"/>
                <a:cs typeface="ＭＳ Ｐゴシック" charset="0"/>
              </a:rPr>
              <a:t>Configuration</a:t>
            </a:r>
            <a:r>
              <a:rPr lang="en-US" sz="900" b="0" i="0" kern="1200" dirty="0">
                <a:solidFill>
                  <a:schemeClr val="tx1"/>
                </a:solidFill>
                <a:effectLst/>
                <a:latin typeface="Segoe UI Light" pitchFamily="34" charset="0"/>
                <a:ea typeface="MS PGothic" panose="020B0600070205080204" pitchFamily="34" charset="-128"/>
                <a:cs typeface="ＭＳ Ｐゴシック" charset="0"/>
              </a:rPr>
              <a:t> - The back-end app uses the desired properties to configure software running on the device. The device uses the reported properties to update configuration status of the device.</a:t>
            </a:r>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DE598D99-56EC-44B0-A1F1-DED5A5FDAEC8}" type="datetime8">
              <a:rPr lang="en-US" altLang="en-US" smtClean="0"/>
              <a:pPr>
                <a:defRPr/>
              </a:pPr>
              <a:t>6/7/2017 1:57 P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15</a:t>
            </a:fld>
            <a:endParaRPr lang="en-US" altLang="en-US"/>
          </a:p>
        </p:txBody>
      </p:sp>
    </p:spTree>
    <p:extLst>
      <p:ext uri="{BB962C8B-B14F-4D97-AF65-F5344CB8AC3E}">
        <p14:creationId xmlns:p14="http://schemas.microsoft.com/office/powerpoint/2010/main" val="31098602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85072">
              <a:spcAft>
                <a:spcPts val="357"/>
              </a:spcAft>
              <a:defRPr/>
            </a:pPr>
            <a:r>
              <a:rPr lang="en-US" dirty="0"/>
              <a:t>IoT Hub provides a vast variety of SDKs for devices</a:t>
            </a:r>
            <a:r>
              <a:rPr lang="en-US" baseline="0" dirty="0"/>
              <a:t> and services.  There are 2 different flavors – ones that are device facing and target at device and field gateways. These provide the best variety for platforms and languages.  The there are ones that are service facing and targeted at application back ends and cloud gateways and support many languages.  </a:t>
            </a:r>
            <a:endParaRPr lang="en-US" dirty="0"/>
          </a:p>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DE598D99-56EC-44B0-A1F1-DED5A5FDAEC8}" type="datetime8">
              <a:rPr lang="en-US" altLang="en-US" smtClean="0"/>
              <a:pPr>
                <a:defRPr/>
              </a:pPr>
              <a:t>6/7/2017 1:57 P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16</a:t>
            </a:fld>
            <a:endParaRPr lang="en-US" altLang="en-US"/>
          </a:p>
        </p:txBody>
      </p:sp>
    </p:spTree>
    <p:extLst>
      <p:ext uri="{BB962C8B-B14F-4D97-AF65-F5344CB8AC3E}">
        <p14:creationId xmlns:p14="http://schemas.microsoft.com/office/powerpoint/2010/main" val="34322973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85072">
              <a:spcAft>
                <a:spcPts val="357"/>
              </a:spcAft>
              <a:defRPr/>
            </a:pPr>
            <a:r>
              <a:rPr lang="en-US" dirty="0"/>
              <a:t>IoT Hub provides a vast variety of SDKs for devices</a:t>
            </a:r>
            <a:r>
              <a:rPr lang="en-US" baseline="0" dirty="0"/>
              <a:t> and services.  There are 2 different flavors – ones that are device facing and target at device and field gateways. These provide the best variety for platforms and languages.  The there are ones that are service facing and targeted at application back ends and cloud gateways and support many languages.  </a:t>
            </a:r>
            <a:endParaRPr lang="en-US" dirty="0"/>
          </a:p>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DE598D99-56EC-44B0-A1F1-DED5A5FDAEC8}" type="datetime8">
              <a:rPr lang="en-US" altLang="en-US" smtClean="0"/>
              <a:pPr>
                <a:defRPr/>
              </a:pPr>
              <a:t>6/7/2017 1:57 P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17</a:t>
            </a:fld>
            <a:endParaRPr lang="en-US" altLang="en-US"/>
          </a:p>
        </p:txBody>
      </p:sp>
    </p:spTree>
    <p:extLst>
      <p:ext uri="{BB962C8B-B14F-4D97-AF65-F5344CB8AC3E}">
        <p14:creationId xmlns:p14="http://schemas.microsoft.com/office/powerpoint/2010/main" val="26254016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3350" y="893763"/>
            <a:ext cx="3144838" cy="1768475"/>
          </a:xfrm>
        </p:spPr>
      </p:sp>
      <p:sp>
        <p:nvSpPr>
          <p:cNvPr id="3" name="Notes Placeholder 2"/>
          <p:cNvSpPr>
            <a:spLocks noGrp="1"/>
          </p:cNvSpPr>
          <p:nvPr>
            <p:ph type="body" idx="1"/>
          </p:nvPr>
        </p:nvSpPr>
        <p:spPr/>
        <p:txBody>
          <a:bodyPr/>
          <a:lstStyle/>
          <a:p>
            <a:r>
              <a:rPr lang="en-US" dirty="0"/>
              <a:t>When you provision an IoT Hub from the Azure</a:t>
            </a:r>
            <a:r>
              <a:rPr lang="en-US" baseline="0" dirty="0"/>
              <a:t> Management portal, you will create your own instance of IoT Hub.  This instance</a:t>
            </a:r>
            <a:r>
              <a:rPr lang="en-US" dirty="0"/>
              <a:t> exposes a set of conceptual endpoints to access its functionalities.</a:t>
            </a:r>
          </a:p>
          <a:p>
            <a:endParaRPr lang="en-US" dirty="0"/>
          </a:p>
          <a:p>
            <a:r>
              <a:rPr lang="en-US" dirty="0"/>
              <a:t>There</a:t>
            </a:r>
            <a:r>
              <a:rPr lang="en-US" baseline="0" dirty="0"/>
              <a:t> are two endpoints for each device: one to send D2C </a:t>
            </a:r>
            <a:r>
              <a:rPr lang="en-US" baseline="0" dirty="0" err="1"/>
              <a:t>msgs</a:t>
            </a:r>
            <a:r>
              <a:rPr lang="en-US" baseline="0" dirty="0"/>
              <a:t>, one to receive C2D </a:t>
            </a:r>
            <a:r>
              <a:rPr lang="en-US" baseline="0" dirty="0" err="1"/>
              <a:t>msgs</a:t>
            </a:r>
            <a:r>
              <a:rPr lang="en-US" baseline="0" dirty="0"/>
              <a:t>.</a:t>
            </a:r>
          </a:p>
          <a:p>
            <a:r>
              <a:rPr lang="en-US" baseline="0" dirty="0"/>
              <a:t>Devices can connect two both endpoints over the same connection.</a:t>
            </a:r>
          </a:p>
          <a:p>
            <a:endParaRPr lang="en-US" baseline="0" dirty="0"/>
          </a:p>
          <a:p>
            <a:r>
              <a:rPr lang="en-US" baseline="0" dirty="0"/>
              <a:t>Field Gateways and Cloud Gateways are able to represent multiple devices by simultaneously connecting to D2C and C2D endpoints for many devices at the same time.</a:t>
            </a:r>
          </a:p>
          <a:p>
            <a:endParaRPr lang="en-US" baseline="0" dirty="0"/>
          </a:p>
          <a:p>
            <a:r>
              <a:rPr lang="en-US" baseline="0" dirty="0"/>
              <a:t>On the app back-end side, the D2C receive endpoint is used by the event processing pipeline (ASA, Storm, custom, …), and by the device runtime logic component, which handles requests and command responses that come from devices.</a:t>
            </a:r>
          </a:p>
          <a:p>
            <a:r>
              <a:rPr lang="en-US" baseline="0" dirty="0"/>
              <a:t>The device runtime logic component also uses the C2D send endpoint to send notifications and commands to devices.</a:t>
            </a:r>
          </a:p>
          <a:p>
            <a:r>
              <a:rPr lang="en-US" baseline="0" dirty="0"/>
              <a:t>It also uses the </a:t>
            </a:r>
            <a:r>
              <a:rPr lang="en-US" baseline="0" dirty="0" err="1"/>
              <a:t>msg</a:t>
            </a:r>
            <a:r>
              <a:rPr lang="en-US" baseline="0" dirty="0"/>
              <a:t> feedback and monitoring endpoint. This is critical for IoT solutions where devices are reachable only through IoT Hub. In these very common scenarios, any problem on the connectivity between device and IoT Hub cannot just be reported as errors back to the device, but also to the app back-end in the form of events on this feedback endpoint. This makes possible the kind of monitoring that is required to achieve high operability of an IoT solution.</a:t>
            </a:r>
          </a:p>
          <a:p>
            <a:endParaRPr lang="en-US" baseline="0" dirty="0"/>
          </a:p>
          <a:p>
            <a:r>
              <a:rPr lang="en-US" baseline="0" dirty="0"/>
              <a:t>In addition to these runtime endpoint, IoT Hub also has a device identity management endpoint that is used by your solution’s device provisioning and mgmt component.</a:t>
            </a:r>
          </a:p>
          <a:p>
            <a:endParaRPr lang="en-US" baseline="0" dirty="0"/>
          </a:p>
          <a:p>
            <a:r>
              <a:rPr lang="en-US" baseline="0" dirty="0"/>
              <a:t>Finally, an IoT Hub Manage endpoint is used to set security, functional, performance parameters.</a:t>
            </a:r>
          </a:p>
        </p:txBody>
      </p:sp>
      <p:sp>
        <p:nvSpPr>
          <p:cNvPr id="4" name="Header Placeholder 3"/>
          <p:cNvSpPr>
            <a:spLocks noGrp="1"/>
          </p:cNvSpPr>
          <p:nvPr>
            <p:ph type="hdr" sz="quarter" idx="10"/>
          </p:nvPr>
        </p:nvSpPr>
        <p:spPr/>
        <p:txBody>
          <a:bodyPr/>
          <a:lstStyle/>
          <a:p>
            <a:pPr>
              <a:defRPr/>
            </a:pPr>
            <a:r>
              <a:rPr lang="en-US">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66294" fontAlgn="auto">
              <a:spcBef>
                <a:spcPts val="0"/>
              </a:spcBef>
              <a:spcAft>
                <a:spcPts val="0"/>
              </a:spcAft>
              <a:defRPr/>
            </a:pPr>
            <a:r>
              <a:rPr lang="en-US">
                <a:gradFill>
                  <a:gsLst>
                    <a:gs pos="0">
                      <a:prstClr val="black"/>
                    </a:gs>
                    <a:gs pos="100000">
                      <a:prstClr val="black"/>
                    </a:gs>
                  </a:gsLst>
                  <a:lin ang="5400000" scaled="0"/>
                </a:gradFill>
                <a:ea typeface="Segoe UI" pitchFamily="34" charset="0"/>
              </a:rPr>
              <a:t>© 2015 Microsoft Corporation. All rights reserved. MICROSOFT MAKES NO WARRANTIES, EXPRESS, IMPLIED OR STATUTORY, AS TO THE INFORMATION IN THIS PRESENTATION.</a:t>
            </a:r>
            <a:endParaRPr lang="en-US" dirty="0">
              <a:gradFill>
                <a:gsLst>
                  <a:gs pos="0">
                    <a:prstClr val="black"/>
                  </a:gs>
                  <a:gs pos="100000">
                    <a:prstClr val="black"/>
                  </a:gs>
                </a:gsLst>
                <a:lin ang="5400000" scaled="0"/>
              </a:gradFill>
              <a:ea typeface="Segoe UI" pitchFamily="34" charset="0"/>
            </a:endParaRPr>
          </a:p>
        </p:txBody>
      </p:sp>
      <p:sp>
        <p:nvSpPr>
          <p:cNvPr id="6" name="Date Placeholder 5"/>
          <p:cNvSpPr>
            <a:spLocks noGrp="1"/>
          </p:cNvSpPr>
          <p:nvPr>
            <p:ph type="dt" idx="12"/>
          </p:nvPr>
        </p:nvSpPr>
        <p:spPr/>
        <p:txBody>
          <a:bodyPr/>
          <a:lstStyle/>
          <a:p>
            <a:pPr defTabSz="986002" fontAlgn="auto">
              <a:spcBef>
                <a:spcPts val="0"/>
              </a:spcBef>
              <a:spcAft>
                <a:spcPts val="0"/>
              </a:spcAft>
              <a:defRPr/>
            </a:pPr>
            <a:fld id="{38EEC551-8CDA-4EB6-89BB-2A86C9F091C8}" type="datetime8">
              <a:rPr lang="en-US">
                <a:solidFill>
                  <a:prstClr val="black"/>
                </a:solidFill>
                <a:ea typeface="+mn-ea"/>
              </a:rPr>
              <a:pPr defTabSz="986002" fontAlgn="auto">
                <a:spcBef>
                  <a:spcPts val="0"/>
                </a:spcBef>
                <a:spcAft>
                  <a:spcPts val="0"/>
                </a:spcAft>
                <a:defRPr/>
              </a:pPr>
              <a:t>6/7/2017 1:57 PM</a:t>
            </a:fld>
            <a:endParaRPr lang="en-US" dirty="0">
              <a:solidFill>
                <a:prstClr val="black"/>
              </a:solidFill>
              <a:ea typeface="+mn-ea"/>
            </a:endParaRPr>
          </a:p>
        </p:txBody>
      </p:sp>
      <p:sp>
        <p:nvSpPr>
          <p:cNvPr id="7" name="Slide Number Placeholder 6"/>
          <p:cNvSpPr>
            <a:spLocks noGrp="1"/>
          </p:cNvSpPr>
          <p:nvPr>
            <p:ph type="sldNum" sz="quarter" idx="13"/>
          </p:nvPr>
        </p:nvSpPr>
        <p:spPr/>
        <p:txBody>
          <a:bodyPr/>
          <a:lstStyle/>
          <a:p>
            <a:pPr defTabSz="986002" fontAlgn="auto">
              <a:spcBef>
                <a:spcPts val="0"/>
              </a:spcBef>
              <a:spcAft>
                <a:spcPts val="0"/>
              </a:spcAft>
              <a:defRPr/>
            </a:pPr>
            <a:fld id="{B4008EB6-D09E-4580-8CD6-DDB14511944F}" type="slidenum">
              <a:rPr lang="en-US">
                <a:solidFill>
                  <a:prstClr val="black"/>
                </a:solidFill>
                <a:ea typeface="+mn-ea"/>
              </a:rPr>
              <a:pPr defTabSz="986002" fontAlgn="auto">
                <a:spcBef>
                  <a:spcPts val="0"/>
                </a:spcBef>
                <a:spcAft>
                  <a:spcPts val="0"/>
                </a:spcAft>
                <a:defRPr/>
              </a:pPr>
              <a:t>18</a:t>
            </a:fld>
            <a:endParaRPr lang="en-US" dirty="0">
              <a:solidFill>
                <a:prstClr val="black"/>
              </a:solidFill>
              <a:ea typeface="+mn-ea"/>
            </a:endParaRPr>
          </a:p>
        </p:txBody>
      </p:sp>
    </p:spTree>
    <p:extLst>
      <p:ext uri="{BB962C8B-B14F-4D97-AF65-F5344CB8AC3E}">
        <p14:creationId xmlns:p14="http://schemas.microsoft.com/office/powerpoint/2010/main" val="38275457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85072">
              <a:spcAft>
                <a:spcPts val="357"/>
              </a:spcAft>
              <a:defRPr/>
            </a:pPr>
            <a:r>
              <a:rPr lang="en-US" dirty="0"/>
              <a:t>IoT Hub provides a vast variety of SDKs for devices</a:t>
            </a:r>
            <a:r>
              <a:rPr lang="en-US" baseline="0" dirty="0"/>
              <a:t> and services.  There are 2 different flavors – ones that are device facing and target at device and field gateways. These provide the best variety for platforms and languages.  The there are ones that are service facing and targeted at application back ends and cloud gateways and support many languages.  </a:t>
            </a:r>
            <a:endParaRPr lang="en-US" dirty="0"/>
          </a:p>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DE598D99-56EC-44B0-A1F1-DED5A5FDAEC8}" type="datetime8">
              <a:rPr lang="en-US" altLang="en-US" smtClean="0"/>
              <a:pPr>
                <a:defRPr/>
              </a:pPr>
              <a:t>6/7/2017 1:57 P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19</a:t>
            </a:fld>
            <a:endParaRPr lang="en-US" altLang="en-US"/>
          </a:p>
        </p:txBody>
      </p:sp>
    </p:spTree>
    <p:extLst>
      <p:ext uri="{BB962C8B-B14F-4D97-AF65-F5344CB8AC3E}">
        <p14:creationId xmlns:p14="http://schemas.microsoft.com/office/powerpoint/2010/main" val="29488741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e Microsoft Azure IoT Suite offers a solution to three key pillars;</a:t>
            </a:r>
          </a:p>
          <a:p>
            <a:endParaRPr lang="en-US" baseline="0" dirty="0"/>
          </a:p>
          <a:p>
            <a:pPr marL="242910" indent="-242910">
              <a:buFont typeface="Arial" panose="020B0604020202020204" pitchFamily="34" charset="0"/>
              <a:buAutoNum type="arabicParenR"/>
            </a:pPr>
            <a:r>
              <a:rPr lang="en-US" baseline="0" dirty="0"/>
              <a:t>Connect and scale with efficiency</a:t>
            </a:r>
          </a:p>
          <a:p>
            <a:pPr marL="728729" lvl="1" indent="-242910">
              <a:buFont typeface="Arial" panose="020B0604020202020204" pitchFamily="34" charset="0"/>
              <a:buAutoNum type="alphaLcParenR"/>
            </a:pPr>
            <a:r>
              <a:rPr lang="en-US" baseline="0" dirty="0"/>
              <a:t>Preconfigured solutions offer quick start-up provisioning to the most common IoT scenario requirements. </a:t>
            </a:r>
          </a:p>
          <a:p>
            <a:pPr marL="728729" lvl="1" indent="-242910">
              <a:buFont typeface="Arial" panose="020B0604020202020204" pitchFamily="34" charset="0"/>
              <a:buAutoNum type="alphaLcParenR"/>
            </a:pPr>
            <a:r>
              <a:rPr lang="en-US" baseline="0" dirty="0"/>
              <a:t>Heterogeneous agents libraries, documentation and SDK’s allow for OS selection and cross platform, multi language support. Easily flash devices and create custom agents using open source libraries. </a:t>
            </a:r>
          </a:p>
          <a:p>
            <a:pPr marL="728729" lvl="1" indent="-242910">
              <a:buFont typeface="Arial" panose="020B0604020202020204" pitchFamily="34" charset="0"/>
              <a:buAutoNum type="alphaLcParenR"/>
            </a:pPr>
            <a:r>
              <a:rPr lang="en-US" baseline="0" dirty="0"/>
              <a:t>Connect and control devices easily, handling device authentication and secure two way communication. </a:t>
            </a:r>
          </a:p>
          <a:p>
            <a:pPr marL="242910" indent="-242910">
              <a:buFont typeface="Arial" panose="020B0604020202020204" pitchFamily="34" charset="0"/>
              <a:buAutoNum type="arabicParenR"/>
            </a:pPr>
            <a:endParaRPr lang="en-US" baseline="0" dirty="0"/>
          </a:p>
          <a:p>
            <a:pPr marL="242910" indent="-242910">
              <a:buFont typeface="Arial" panose="020B0604020202020204" pitchFamily="34" charset="0"/>
              <a:buAutoNum type="arabicParenR"/>
            </a:pPr>
            <a:r>
              <a:rPr lang="en-US" baseline="0" dirty="0"/>
              <a:t>Analyze and act on new data</a:t>
            </a:r>
          </a:p>
          <a:p>
            <a:pPr marL="728729" lvl="1" indent="-242910">
              <a:buFont typeface="Arial" panose="020B0604020202020204" pitchFamily="34" charset="0"/>
              <a:buAutoNum type="alphaLcParenR"/>
            </a:pPr>
            <a:r>
              <a:rPr lang="en-US" baseline="0" dirty="0"/>
              <a:t>Set thresholds, alert limits and values and alarm jobs while processing big data. </a:t>
            </a:r>
          </a:p>
          <a:p>
            <a:pPr marL="728729" lvl="1" indent="-242910">
              <a:buFont typeface="Arial" panose="020B0604020202020204" pitchFamily="34" charset="0"/>
              <a:buAutoNum type="alphaLcParenR"/>
            </a:pPr>
            <a:r>
              <a:rPr lang="en-US" baseline="0" dirty="0"/>
              <a:t>Implement predictive analytics and algorithms across historical and real time data for a variety of purposes. </a:t>
            </a:r>
          </a:p>
          <a:p>
            <a:pPr marL="728729" lvl="1" indent="-242910">
              <a:buFont typeface="Arial" panose="020B0604020202020204" pitchFamily="34" charset="0"/>
              <a:buAutoNum type="alphaLcParenR"/>
            </a:pPr>
            <a:r>
              <a:rPr lang="en-US" baseline="0" dirty="0"/>
              <a:t>Visualize big data on dashboards or create reports for business decision makers. </a:t>
            </a:r>
          </a:p>
          <a:p>
            <a:pPr marL="728729" lvl="1" indent="-242910">
              <a:buFont typeface="Arial" panose="020B0604020202020204" pitchFamily="34" charset="0"/>
              <a:buAutoNum type="arabicParenR"/>
            </a:pPr>
            <a:endParaRPr lang="en-US" baseline="0" dirty="0"/>
          </a:p>
          <a:p>
            <a:pPr marL="242910" indent="-242910">
              <a:buFont typeface="Arial" panose="020B0604020202020204" pitchFamily="34" charset="0"/>
              <a:buAutoNum type="arabicParenR"/>
            </a:pPr>
            <a:r>
              <a:rPr lang="en-US" baseline="0" dirty="0"/>
              <a:t>Integrate and transform business processes </a:t>
            </a:r>
          </a:p>
          <a:p>
            <a:pPr marL="728729" lvl="1" indent="-242910">
              <a:buFont typeface="Arial" panose="020B0604020202020204" pitchFamily="34" charset="0"/>
              <a:buAutoNum type="alphaLcParenR"/>
            </a:pPr>
            <a:r>
              <a:rPr lang="en-US" baseline="0" dirty="0"/>
              <a:t>Integrate alarms, real time processes and elevate attention within new or existing line of business applications.</a:t>
            </a:r>
          </a:p>
          <a:p>
            <a:pPr marL="728729" lvl="1" indent="-242910">
              <a:buFont typeface="Arial" panose="020B0604020202020204" pitchFamily="34" charset="0"/>
              <a:buAutoNum type="alphaLcParenR"/>
            </a:pPr>
            <a:r>
              <a:rPr lang="en-US" baseline="0" dirty="0"/>
              <a:t>Broadcast notifications and commands to devices or personnel; utilize geographic or other custom features to target audiences. </a:t>
            </a:r>
          </a:p>
          <a:p>
            <a:pPr marL="485819" lvl="1" indent="0">
              <a:buNone/>
            </a:pPr>
            <a:r>
              <a:rPr lang="en-US" baseline="0" dirty="0"/>
              <a:t>c) Make dashboards and data available but control security and access to devices, thresholds and alert configurations.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71318"/>
            <a:r>
              <a:rPr lang="en-US">
                <a:gradFill>
                  <a:gsLst>
                    <a:gs pos="0">
                      <a:prstClr val="black"/>
                    </a:gs>
                    <a:gs pos="100000">
                      <a:prstClr val="black"/>
                    </a:gs>
                  </a:gsLst>
                  <a:lin ang="5400000" scaled="0"/>
                </a:gradFill>
                <a:ea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6/7/2017 1:5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292893875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85072">
              <a:spcAft>
                <a:spcPts val="357"/>
              </a:spcAft>
              <a:defRPr/>
            </a:pPr>
            <a:r>
              <a:rPr lang="en-US" dirty="0"/>
              <a:t>IoT Hub provides a vast variety of SDKs for devices</a:t>
            </a:r>
            <a:r>
              <a:rPr lang="en-US" baseline="0" dirty="0"/>
              <a:t> and services.  There are 2 different flavors – ones that are device facing and target at device and field gateways. These provide the best variety for platforms and languages.  The there are ones that are service facing and targeted at application back ends and cloud gateways and support many languages.  </a:t>
            </a:r>
            <a:endParaRPr lang="en-US" dirty="0"/>
          </a:p>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DE598D99-56EC-44B0-A1F1-DED5A5FDAEC8}" type="datetime8">
              <a:rPr lang="en-US" altLang="en-US" smtClean="0"/>
              <a:pPr>
                <a:defRPr/>
              </a:pPr>
              <a:t>6/7/2017 1:57 P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20</a:t>
            </a:fld>
            <a:endParaRPr lang="en-US" altLang="en-US"/>
          </a:p>
        </p:txBody>
      </p:sp>
    </p:spTree>
    <p:extLst>
      <p:ext uri="{BB962C8B-B14F-4D97-AF65-F5344CB8AC3E}">
        <p14:creationId xmlns:p14="http://schemas.microsoft.com/office/powerpoint/2010/main" val="17792461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3350" y="893763"/>
            <a:ext cx="3144838" cy="1768475"/>
          </a:xfrm>
        </p:spPr>
      </p:sp>
      <p:sp>
        <p:nvSpPr>
          <p:cNvPr id="3" name="Notes Placeholder 2"/>
          <p:cNvSpPr>
            <a:spLocks noGrp="1"/>
          </p:cNvSpPr>
          <p:nvPr>
            <p:ph type="body" idx="1"/>
          </p:nvPr>
        </p:nvSpPr>
        <p:spPr/>
        <p:txBody>
          <a:bodyPr/>
          <a:lstStyle/>
          <a:p>
            <a:r>
              <a:rPr lang="en-US" dirty="0"/>
              <a:t>The sample scenario used in the demo.</a:t>
            </a:r>
          </a:p>
          <a:p>
            <a:endParaRPr lang="en-US" dirty="0"/>
          </a:p>
          <a:p>
            <a:r>
              <a:rPr lang="en-US" dirty="0"/>
              <a:t>A console simulator</a:t>
            </a:r>
            <a:r>
              <a:rPr lang="en-US" baseline="0" dirty="0"/>
              <a:t> represent an individual wind turbine, emitting telemetry every second.</a:t>
            </a:r>
          </a:p>
          <a:p>
            <a:r>
              <a:rPr lang="en-US" baseline="0" dirty="0"/>
              <a:t>Also it simulates wind turbine start ad stop lifecycle, controlled by the cloud.</a:t>
            </a:r>
          </a:p>
          <a:p>
            <a:endParaRPr lang="en-US" baseline="0" dirty="0"/>
          </a:p>
          <a:p>
            <a:r>
              <a:rPr lang="en-US" baseline="0" dirty="0"/>
              <a:t>The main portions of the demo are:</a:t>
            </a:r>
          </a:p>
          <a:p>
            <a:r>
              <a:rPr lang="en-US" baseline="0" dirty="0"/>
              <a:t>provisioning: a simple portal app provisions devices with a device registry (implemented in a </a:t>
            </a:r>
            <a:r>
              <a:rPr lang="en-US" baseline="0" dirty="0" err="1"/>
              <a:t>DocDB</a:t>
            </a:r>
            <a:r>
              <a:rPr lang="en-US" baseline="0" dirty="0"/>
              <a:t> in the demo) and the hub identity registry.</a:t>
            </a:r>
          </a:p>
          <a:p>
            <a:endParaRPr lang="en-US" baseline="0" dirty="0"/>
          </a:p>
          <a:p>
            <a:r>
              <a:rPr lang="en-US" baseline="0" dirty="0"/>
              <a:t>The previous step enables a device simulator to connect to the hub and start emitting telemetry and listen for commands.</a:t>
            </a:r>
          </a:p>
          <a:p>
            <a:r>
              <a:rPr lang="en-US" baseline="0" dirty="0"/>
              <a:t>Telemetry is received by a console app running an Event Processor Host, which updates the portal with the latest telemetry values.</a:t>
            </a:r>
          </a:p>
          <a:p>
            <a:endParaRPr lang="en-US" baseline="0" dirty="0"/>
          </a:p>
          <a:p>
            <a:r>
              <a:rPr lang="en-US" baseline="0" dirty="0"/>
              <a:t>From the portal we can then send commands, which are recorded in a command store (to keep track of the status of each command).</a:t>
            </a:r>
          </a:p>
          <a:p>
            <a:r>
              <a:rPr lang="en-US" baseline="0" dirty="0"/>
              <a:t>The simulators reacts to the commands and send responses back through the D2C stream. The event processor then can distinguish command responses from telemetry messages and update the command store accordingly.</a:t>
            </a:r>
            <a:endParaRPr lang="en-US" dirty="0"/>
          </a:p>
        </p:txBody>
      </p:sp>
      <p:sp>
        <p:nvSpPr>
          <p:cNvPr id="4" name="Header Placeholder 3"/>
          <p:cNvSpPr>
            <a:spLocks noGrp="1"/>
          </p:cNvSpPr>
          <p:nvPr>
            <p:ph type="hdr" sz="quarter" idx="10"/>
          </p:nvPr>
        </p:nvSpPr>
        <p:spPr/>
        <p:txBody>
          <a:bodyPr/>
          <a:lstStyle/>
          <a:p>
            <a:pPr>
              <a:defRPr/>
            </a:pPr>
            <a:r>
              <a:rPr lang="en-US">
                <a:solidFill>
                  <a:prstClr val="black"/>
                </a:solidFill>
              </a:rPr>
              <a:t>Microsoft Ignit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66294" fontAlgn="auto">
              <a:spcBef>
                <a:spcPts val="0"/>
              </a:spcBef>
              <a:spcAft>
                <a:spcPts val="0"/>
              </a:spcAft>
              <a:defRPr/>
            </a:pPr>
            <a:r>
              <a:rPr lang="en-US">
                <a:gradFill>
                  <a:gsLst>
                    <a:gs pos="0">
                      <a:prstClr val="black"/>
                    </a:gs>
                    <a:gs pos="100000">
                      <a:prstClr val="black"/>
                    </a:gs>
                  </a:gsLst>
                  <a:lin ang="5400000" scaled="0"/>
                </a:gradFill>
                <a:ea typeface="Segoe UI" pitchFamily="34" charset="0"/>
              </a:rPr>
              <a:t>© 2015 Microsoft Corporation. All rights reserved. MICROSOFT MAKES NO WARRANTIES, EXPRESS, IMPLIED OR STATUTORY, AS TO THE INFORMATION IN THIS PRESENTATION.</a:t>
            </a:r>
            <a:endParaRPr lang="en-US" dirty="0">
              <a:gradFill>
                <a:gsLst>
                  <a:gs pos="0">
                    <a:prstClr val="black"/>
                  </a:gs>
                  <a:gs pos="100000">
                    <a:prstClr val="black"/>
                  </a:gs>
                </a:gsLst>
                <a:lin ang="5400000" scaled="0"/>
              </a:gradFill>
              <a:ea typeface="Segoe UI" pitchFamily="34" charset="0"/>
            </a:endParaRPr>
          </a:p>
        </p:txBody>
      </p:sp>
      <p:sp>
        <p:nvSpPr>
          <p:cNvPr id="6" name="Date Placeholder 5"/>
          <p:cNvSpPr>
            <a:spLocks noGrp="1"/>
          </p:cNvSpPr>
          <p:nvPr>
            <p:ph type="dt" idx="12"/>
          </p:nvPr>
        </p:nvSpPr>
        <p:spPr/>
        <p:txBody>
          <a:bodyPr/>
          <a:lstStyle/>
          <a:p>
            <a:pPr defTabSz="986002" fontAlgn="auto">
              <a:spcBef>
                <a:spcPts val="0"/>
              </a:spcBef>
              <a:spcAft>
                <a:spcPts val="0"/>
              </a:spcAft>
              <a:defRPr/>
            </a:pPr>
            <a:fld id="{38EEC551-8CDA-4EB6-89BB-2A86C9F091C8}" type="datetime8">
              <a:rPr lang="en-US">
                <a:solidFill>
                  <a:prstClr val="black"/>
                </a:solidFill>
                <a:ea typeface="+mn-ea"/>
              </a:rPr>
              <a:pPr defTabSz="986002" fontAlgn="auto">
                <a:spcBef>
                  <a:spcPts val="0"/>
                </a:spcBef>
                <a:spcAft>
                  <a:spcPts val="0"/>
                </a:spcAft>
                <a:defRPr/>
              </a:pPr>
              <a:t>6/7/2017 1:57 PM</a:t>
            </a:fld>
            <a:endParaRPr lang="en-US" dirty="0">
              <a:solidFill>
                <a:prstClr val="black"/>
              </a:solidFill>
              <a:ea typeface="+mn-ea"/>
            </a:endParaRPr>
          </a:p>
        </p:txBody>
      </p:sp>
      <p:sp>
        <p:nvSpPr>
          <p:cNvPr id="7" name="Slide Number Placeholder 6"/>
          <p:cNvSpPr>
            <a:spLocks noGrp="1"/>
          </p:cNvSpPr>
          <p:nvPr>
            <p:ph type="sldNum" sz="quarter" idx="13"/>
          </p:nvPr>
        </p:nvSpPr>
        <p:spPr/>
        <p:txBody>
          <a:bodyPr/>
          <a:lstStyle/>
          <a:p>
            <a:pPr defTabSz="986002" fontAlgn="auto">
              <a:spcBef>
                <a:spcPts val="0"/>
              </a:spcBef>
              <a:spcAft>
                <a:spcPts val="0"/>
              </a:spcAft>
              <a:defRPr/>
            </a:pPr>
            <a:fld id="{B4008EB6-D09E-4580-8CD6-DDB14511944F}" type="slidenum">
              <a:rPr lang="en-US">
                <a:solidFill>
                  <a:prstClr val="black"/>
                </a:solidFill>
                <a:ea typeface="+mn-ea"/>
              </a:rPr>
              <a:pPr defTabSz="986002" fontAlgn="auto">
                <a:spcBef>
                  <a:spcPts val="0"/>
                </a:spcBef>
                <a:spcAft>
                  <a:spcPts val="0"/>
                </a:spcAft>
                <a:defRPr/>
              </a:pPr>
              <a:t>21</a:t>
            </a:fld>
            <a:endParaRPr lang="en-US" dirty="0">
              <a:solidFill>
                <a:prstClr val="black"/>
              </a:solidFill>
              <a:ea typeface="+mn-ea"/>
            </a:endParaRPr>
          </a:p>
        </p:txBody>
      </p:sp>
    </p:spTree>
    <p:extLst>
      <p:ext uri="{BB962C8B-B14F-4D97-AF65-F5344CB8AC3E}">
        <p14:creationId xmlns:p14="http://schemas.microsoft.com/office/powerpoint/2010/main" val="1356050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IoT Hub supports millions</a:t>
            </a:r>
            <a:r>
              <a:rPr lang="en-US" baseline="0" dirty="0"/>
              <a:t> of simultaneously connected devices.  It supports per device authentication and identities which makes sure that your device connectivity is secured.  It supports high throughput device to cloud messaging and reliable cloud to device messaging and it was extensive support on the device and service SDKs.  </a:t>
            </a:r>
          </a:p>
          <a:p>
            <a:endParaRPr lang="en-US" baseline="0" dirty="0"/>
          </a:p>
          <a:p>
            <a:r>
              <a:rPr lang="en-US" baseline="0" dirty="0"/>
              <a:t>You can try Azure IoT Hub for free now on Azure.com.</a:t>
            </a:r>
            <a:endParaRPr lang="en-US" dirty="0"/>
          </a:p>
          <a:p>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85072">
              <a:defRPr/>
            </a:pPr>
            <a:fld id="{DE598D99-56EC-44B0-A1F1-DED5A5FDAEC8}" type="datetime8">
              <a:rPr lang="en-US" altLang="en-US">
                <a:solidFill>
                  <a:prstClr val="black"/>
                </a:solidFill>
              </a:rPr>
              <a:pPr defTabSz="985072">
                <a:defRPr/>
              </a:pPr>
              <a:t>6/7/2017 1:57 P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defTabSz="985072">
              <a:defRPr/>
            </a:pPr>
            <a:fld id="{AE0CBDBD-C344-44AE-A370-0846076D6E08}" type="slidenum">
              <a:rPr lang="en-US" altLang="en-US">
                <a:solidFill>
                  <a:prstClr val="black"/>
                </a:solidFill>
              </a:rPr>
              <a:pPr defTabSz="985072">
                <a:defRPr/>
              </a:pPr>
              <a:t>22</a:t>
            </a:fld>
            <a:endParaRPr lang="en-US" altLang="en-US">
              <a:solidFill>
                <a:prstClr val="black"/>
              </a:solidFill>
            </a:endParaRPr>
          </a:p>
        </p:txBody>
      </p:sp>
    </p:spTree>
    <p:extLst>
      <p:ext uri="{BB962C8B-B14F-4D97-AF65-F5344CB8AC3E}">
        <p14:creationId xmlns:p14="http://schemas.microsoft.com/office/powerpoint/2010/main" val="14093763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000" b="1" dirty="0">
                <a:ea typeface="ＭＳ Ｐゴシック" charset="0"/>
              </a:rPr>
              <a:t> </a:t>
            </a:r>
            <a:endParaRPr lang="en-US" dirty="0"/>
          </a:p>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DE598D99-56EC-44B0-A1F1-DED5A5FDAEC8}" type="datetime8">
              <a:rPr lang="en-US" altLang="en-US" smtClean="0"/>
              <a:pPr>
                <a:defRPr/>
              </a:pPr>
              <a:t>6/7/2017 1:57 P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23</a:t>
            </a:fld>
            <a:endParaRPr lang="en-US" altLang="en-US"/>
          </a:p>
        </p:txBody>
      </p:sp>
    </p:spTree>
    <p:extLst>
      <p:ext uri="{BB962C8B-B14F-4D97-AF65-F5344CB8AC3E}">
        <p14:creationId xmlns:p14="http://schemas.microsoft.com/office/powerpoint/2010/main" val="13541003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How does it work? As mentioned; the solution is a combination of multiple back-end components. This architecture diagram shows the individual Microsoft products and services that are utilized. </a:t>
            </a:r>
          </a:p>
          <a:p>
            <a:endParaRPr lang="en-US" baseline="0"/>
          </a:p>
          <a:p>
            <a:r>
              <a:rPr lang="en-US" baseline="0"/>
              <a:t>Reference Architecture for Remote Monitoring solution, what products are used and why? -&gt;</a:t>
            </a:r>
          </a:p>
          <a:p>
            <a:endParaRPr lang="en-US" baseline="0"/>
          </a:p>
          <a:p>
            <a:pPr marL="182183" indent="-182183">
              <a:buFontTx/>
              <a:buChar char="-"/>
            </a:pPr>
            <a:r>
              <a:rPr lang="en-US" baseline="0"/>
              <a:t>Provision simulated devices with a C# device emulator running </a:t>
            </a:r>
            <a:r>
              <a:rPr lang="en-US" baseline="0" err="1"/>
              <a:t>.Net</a:t>
            </a:r>
            <a:r>
              <a:rPr lang="en-US" baseline="0"/>
              <a:t>. Create agents for Linux, iOS, Android and other platforms with C and Java language support. </a:t>
            </a:r>
          </a:p>
          <a:p>
            <a:pPr marL="182183" indent="-182183">
              <a:buFontTx/>
              <a:buChar char="-"/>
            </a:pPr>
            <a:endParaRPr lang="en-US" baseline="0"/>
          </a:p>
          <a:p>
            <a:pPr marL="182183" indent="-182183">
              <a:buFontTx/>
              <a:buChar char="-"/>
            </a:pPr>
            <a:r>
              <a:rPr lang="en-US" baseline="0"/>
              <a:t>IoT Hub manages the two way communication between cloud and device and creates a secure command and control channel. </a:t>
            </a:r>
          </a:p>
          <a:p>
            <a:pPr marL="182183" indent="-182183">
              <a:buFontTx/>
              <a:buChar char="-"/>
            </a:pPr>
            <a:endParaRPr lang="en-US" baseline="0"/>
          </a:p>
          <a:p>
            <a:pPr marL="182183" indent="-182183">
              <a:buFontTx/>
              <a:buChar char="-"/>
            </a:pPr>
            <a:r>
              <a:rPr lang="en-US" baseline="0"/>
              <a:t>Azure Stream Analytics creates and manages jobs to recognize threshold values or detect alarm triggers, sending this information where it needs to be escalated. </a:t>
            </a:r>
          </a:p>
          <a:p>
            <a:pPr marL="182183" indent="-182183">
              <a:buFontTx/>
              <a:buChar char="-"/>
            </a:pPr>
            <a:endParaRPr lang="en-US" baseline="0"/>
          </a:p>
          <a:p>
            <a:pPr marL="182183" indent="-182183">
              <a:buFontTx/>
              <a:buChar char="-"/>
            </a:pPr>
            <a:r>
              <a:rPr lang="en-US" baseline="0"/>
              <a:t>Event Hub is queried by a web job running an event processor host to determine </a:t>
            </a:r>
            <a:r>
              <a:rPr lang="en-US" i="1" baseline="0"/>
              <a:t>where</a:t>
            </a:r>
            <a:r>
              <a:rPr lang="en-US" i="0" baseline="0"/>
              <a:t> and alarm or alert needs to be pushed – such as sending an alert to dashboard for a human operator to take action. </a:t>
            </a:r>
          </a:p>
          <a:p>
            <a:pPr marL="182183" indent="-182183">
              <a:buFontTx/>
              <a:buChar char="-"/>
            </a:pPr>
            <a:endParaRPr lang="en-US" i="0" baseline="0"/>
          </a:p>
          <a:p>
            <a:pPr marL="182183" indent="-182183">
              <a:buFontTx/>
              <a:buChar char="-"/>
            </a:pPr>
            <a:r>
              <a:rPr lang="en-US" i="0" baseline="0"/>
              <a:t>Logic Apps are used to create more complex work loads and integrate into line of business and other proprietary applications. </a:t>
            </a:r>
          </a:p>
          <a:p>
            <a:pPr marL="182183" indent="-182183">
              <a:buFontTx/>
              <a:buChar char="-"/>
            </a:pPr>
            <a:endParaRPr lang="en-US" i="0" baseline="0"/>
          </a:p>
          <a:p>
            <a:pPr marL="182183" indent="-182183">
              <a:buFontTx/>
              <a:buChar char="-"/>
            </a:pPr>
            <a:r>
              <a:rPr lang="en-US" i="0" baseline="0"/>
              <a:t>Document DB stores all the metadata and device properties for each connected device. </a:t>
            </a:r>
          </a:p>
          <a:p>
            <a:pPr marL="182183" indent="-182183">
              <a:buFontTx/>
              <a:buChar char="-"/>
            </a:pPr>
            <a:endParaRPr lang="en-US" i="0" baseline="0"/>
          </a:p>
          <a:p>
            <a:pPr marL="182183" indent="-182183">
              <a:buFontTx/>
              <a:buChar char="-"/>
            </a:pPr>
            <a:r>
              <a:rPr lang="en-US" i="0" baseline="0"/>
              <a:t>Blobs store telemetry information and telemetry data. Other tools such as Azure Machine Learning and </a:t>
            </a:r>
            <a:r>
              <a:rPr lang="en-US" i="0" baseline="0" err="1"/>
              <a:t>PowerBI</a:t>
            </a:r>
            <a:r>
              <a:rPr lang="en-US" i="0" baseline="0"/>
              <a:t> can access this information for data visualization or processing advanced analytics. </a:t>
            </a:r>
          </a:p>
          <a:p>
            <a:pPr marL="182183" indent="-182183">
              <a:buFontTx/>
              <a:buChar char="-"/>
            </a:pPr>
            <a:endParaRPr lang="en-US" i="0" baseline="0"/>
          </a:p>
          <a:p>
            <a:pPr marL="182183" indent="-182183">
              <a:buFontTx/>
              <a:buChar char="-"/>
            </a:pPr>
            <a:r>
              <a:rPr lang="en-US" i="0" baseline="0" err="1"/>
              <a:t>Webapp</a:t>
            </a:r>
            <a:r>
              <a:rPr lang="en-US" i="0" baseline="0"/>
              <a:t> – Dashboard code is available in </a:t>
            </a:r>
            <a:r>
              <a:rPr lang="en-US" i="0" baseline="0" err="1"/>
              <a:t>Github</a:t>
            </a:r>
            <a:r>
              <a:rPr lang="en-US" i="0" baseline="0"/>
              <a:t> allowing it to be fully customized by the user to align with a scenario or be relevant for an enterprise application. </a:t>
            </a:r>
          </a:p>
          <a:p>
            <a:pPr marL="182183" indent="-182183">
              <a:buFontTx/>
              <a:buChar char="-"/>
            </a:pPr>
            <a:endParaRPr lang="en-US" i="0" baseline="0"/>
          </a:p>
          <a:p>
            <a:pPr marL="182183" indent="-182183">
              <a:buFontTx/>
              <a:buChar char="-"/>
            </a:pPr>
            <a:r>
              <a:rPr lang="en-US" i="0" baseline="0"/>
              <a:t>Azure Active Directory controls user ID’s and access, allowing the service to be shared with relevant decision makers within the business but restrict access to certain controls or devices. </a:t>
            </a:r>
          </a:p>
          <a:p>
            <a:pPr marL="182183" indent="-182183">
              <a:buFontTx/>
              <a:buChar char="-"/>
            </a:pPr>
            <a:endParaRPr lang="en-US" i="0" baseline="0"/>
          </a:p>
          <a:p>
            <a:pPr marL="182183" indent="-182183">
              <a:buFontTx/>
              <a:buChar char="-"/>
            </a:pPr>
            <a:r>
              <a:rPr lang="en-US" i="0" baseline="0" err="1"/>
              <a:t>PowerBI</a:t>
            </a:r>
            <a:r>
              <a:rPr lang="en-US" i="0" baseline="0"/>
              <a:t> is used for both open-source embedded components within the dashboard and also for complex external analytics of trends and patterns across all stored data. </a:t>
            </a:r>
            <a:endParaRPr lang="en-US" baseline="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71318"/>
            <a:r>
              <a:rPr lang="en-US">
                <a:gradFill>
                  <a:gsLst>
                    <a:gs pos="0">
                      <a:prstClr val="black"/>
                    </a:gs>
                    <a:gs pos="100000">
                      <a:prstClr val="black"/>
                    </a:gs>
                  </a:gsLst>
                  <a:lin ang="5400000" scaled="0"/>
                </a:gradFill>
                <a:ea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6/7/2017 1:5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1939989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How does it work? As mentioned; the solution is a combination of multiple back-end components. This architecture diagram shows the individual Microsoft products and services that are utilized. </a:t>
            </a:r>
          </a:p>
          <a:p>
            <a:endParaRPr lang="en-US" baseline="0"/>
          </a:p>
          <a:p>
            <a:r>
              <a:rPr lang="en-US" baseline="0"/>
              <a:t>Reference Architecture for Remote Monitoring solution, what products are used and why? -&gt;</a:t>
            </a:r>
          </a:p>
          <a:p>
            <a:endParaRPr lang="en-US" baseline="0"/>
          </a:p>
          <a:p>
            <a:pPr marL="182183" indent="-182183">
              <a:buFontTx/>
              <a:buChar char="-"/>
            </a:pPr>
            <a:r>
              <a:rPr lang="en-US" baseline="0"/>
              <a:t>Provision simulated devices with a C# device emulator running </a:t>
            </a:r>
            <a:r>
              <a:rPr lang="en-US" baseline="0" err="1"/>
              <a:t>.Net</a:t>
            </a:r>
            <a:r>
              <a:rPr lang="en-US" baseline="0"/>
              <a:t>. Create agents for Linux, iOS, Android and other platforms with C and Java language support. </a:t>
            </a:r>
          </a:p>
          <a:p>
            <a:pPr marL="182183" indent="-182183">
              <a:buFontTx/>
              <a:buChar char="-"/>
            </a:pPr>
            <a:endParaRPr lang="en-US" baseline="0"/>
          </a:p>
          <a:p>
            <a:pPr marL="182183" indent="-182183">
              <a:buFontTx/>
              <a:buChar char="-"/>
            </a:pPr>
            <a:r>
              <a:rPr lang="en-US" baseline="0"/>
              <a:t>IoT Hub manages the two way communication between cloud and device and creates a secure command and control channel. </a:t>
            </a:r>
          </a:p>
          <a:p>
            <a:pPr marL="182183" indent="-182183">
              <a:buFontTx/>
              <a:buChar char="-"/>
            </a:pPr>
            <a:endParaRPr lang="en-US" baseline="0"/>
          </a:p>
          <a:p>
            <a:pPr marL="182183" indent="-182183">
              <a:buFontTx/>
              <a:buChar char="-"/>
            </a:pPr>
            <a:r>
              <a:rPr lang="en-US" baseline="0"/>
              <a:t>Azure Stream Analytics creates and manages jobs to recognize threshold values or detect alarm triggers, sending this information where it needs to be escalated. </a:t>
            </a:r>
          </a:p>
          <a:p>
            <a:pPr marL="182183" indent="-182183">
              <a:buFontTx/>
              <a:buChar char="-"/>
            </a:pPr>
            <a:endParaRPr lang="en-US" baseline="0"/>
          </a:p>
          <a:p>
            <a:pPr marL="182183" indent="-182183">
              <a:buFontTx/>
              <a:buChar char="-"/>
            </a:pPr>
            <a:r>
              <a:rPr lang="en-US" baseline="0"/>
              <a:t>Event Hub is queried by a web job running an event processor host to determine </a:t>
            </a:r>
            <a:r>
              <a:rPr lang="en-US" i="1" baseline="0"/>
              <a:t>where</a:t>
            </a:r>
            <a:r>
              <a:rPr lang="en-US" i="0" baseline="0"/>
              <a:t> and alarm or alert needs to be pushed – such as sending an alert to dashboard for a human operator to take action. </a:t>
            </a:r>
          </a:p>
          <a:p>
            <a:pPr marL="182183" indent="-182183">
              <a:buFontTx/>
              <a:buChar char="-"/>
            </a:pPr>
            <a:endParaRPr lang="en-US" i="0" baseline="0"/>
          </a:p>
          <a:p>
            <a:pPr marL="182183" indent="-182183">
              <a:buFontTx/>
              <a:buChar char="-"/>
            </a:pPr>
            <a:r>
              <a:rPr lang="en-US" i="0" baseline="0"/>
              <a:t>Logic Apps are used to create more complex work loads and integrate into line of business and other proprietary applications. </a:t>
            </a:r>
          </a:p>
          <a:p>
            <a:pPr marL="182183" indent="-182183">
              <a:buFontTx/>
              <a:buChar char="-"/>
            </a:pPr>
            <a:endParaRPr lang="en-US" i="0" baseline="0"/>
          </a:p>
          <a:p>
            <a:pPr marL="182183" indent="-182183">
              <a:buFontTx/>
              <a:buChar char="-"/>
            </a:pPr>
            <a:r>
              <a:rPr lang="en-US" i="0" baseline="0"/>
              <a:t>Document DB stores all the metadata and device properties for each connected device. </a:t>
            </a:r>
          </a:p>
          <a:p>
            <a:pPr marL="182183" indent="-182183">
              <a:buFontTx/>
              <a:buChar char="-"/>
            </a:pPr>
            <a:endParaRPr lang="en-US" i="0" baseline="0"/>
          </a:p>
          <a:p>
            <a:pPr marL="182183" indent="-182183">
              <a:buFontTx/>
              <a:buChar char="-"/>
            </a:pPr>
            <a:r>
              <a:rPr lang="en-US" i="0" baseline="0"/>
              <a:t>Blobs store telemetry information and telemetry data. Other tools such as Azure Machine Learning and </a:t>
            </a:r>
            <a:r>
              <a:rPr lang="en-US" i="0" baseline="0" err="1"/>
              <a:t>PowerBI</a:t>
            </a:r>
            <a:r>
              <a:rPr lang="en-US" i="0" baseline="0"/>
              <a:t> can access this information for data visualization or processing advanced analytics. </a:t>
            </a:r>
          </a:p>
          <a:p>
            <a:pPr marL="182183" indent="-182183">
              <a:buFontTx/>
              <a:buChar char="-"/>
            </a:pPr>
            <a:endParaRPr lang="en-US" i="0" baseline="0"/>
          </a:p>
          <a:p>
            <a:pPr marL="182183" indent="-182183">
              <a:buFontTx/>
              <a:buChar char="-"/>
            </a:pPr>
            <a:r>
              <a:rPr lang="en-US" i="0" baseline="0" err="1"/>
              <a:t>Webapp</a:t>
            </a:r>
            <a:r>
              <a:rPr lang="en-US" i="0" baseline="0"/>
              <a:t> – Dashboard code is available in </a:t>
            </a:r>
            <a:r>
              <a:rPr lang="en-US" i="0" baseline="0" err="1"/>
              <a:t>Github</a:t>
            </a:r>
            <a:r>
              <a:rPr lang="en-US" i="0" baseline="0"/>
              <a:t> allowing it to be fully customized by the user to align with a scenario or be relevant for an enterprise application. </a:t>
            </a:r>
          </a:p>
          <a:p>
            <a:pPr marL="182183" indent="-182183">
              <a:buFontTx/>
              <a:buChar char="-"/>
            </a:pPr>
            <a:endParaRPr lang="en-US" i="0" baseline="0"/>
          </a:p>
          <a:p>
            <a:pPr marL="182183" indent="-182183">
              <a:buFontTx/>
              <a:buChar char="-"/>
            </a:pPr>
            <a:r>
              <a:rPr lang="en-US" i="0" baseline="0"/>
              <a:t>Azure Active Directory controls user ID’s and access, allowing the service to be shared with relevant decision makers within the business but restrict access to certain controls or devices. </a:t>
            </a:r>
          </a:p>
          <a:p>
            <a:pPr marL="182183" indent="-182183">
              <a:buFontTx/>
              <a:buChar char="-"/>
            </a:pPr>
            <a:endParaRPr lang="en-US" i="0" baseline="0"/>
          </a:p>
          <a:p>
            <a:pPr marL="182183" indent="-182183">
              <a:buFontTx/>
              <a:buChar char="-"/>
            </a:pPr>
            <a:r>
              <a:rPr lang="en-US" i="0" baseline="0" err="1"/>
              <a:t>PowerBI</a:t>
            </a:r>
            <a:r>
              <a:rPr lang="en-US" i="0" baseline="0"/>
              <a:t> is used for both open-source embedded components within the dashboard and also for complex external analytics of trends and patterns across all stored data. </a:t>
            </a:r>
            <a:endParaRPr lang="en-US" baseline="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71318"/>
            <a:r>
              <a:rPr lang="en-US">
                <a:gradFill>
                  <a:gsLst>
                    <a:gs pos="0">
                      <a:prstClr val="black"/>
                    </a:gs>
                    <a:gs pos="100000">
                      <a:prstClr val="black"/>
                    </a:gs>
                  </a:gsLst>
                  <a:lin ang="5400000" scaled="0"/>
                </a:gradFill>
                <a:ea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6/7/2017 1:5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35917840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60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86020"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lnSpc>
                <a:spcPct val="90000"/>
              </a:lnSpc>
              <a:spcBef>
                <a:spcPct val="30000"/>
              </a:spcBef>
              <a:spcAft>
                <a:spcPts val="357"/>
              </a:spcAft>
              <a:defRPr sz="1000">
                <a:solidFill>
                  <a:schemeClr val="tx1"/>
                </a:solidFill>
                <a:latin typeface="Segoe UI Light" panose="020B0502040204020203" pitchFamily="34" charset="0"/>
                <a:ea typeface="MS PGothic" panose="020B0600070205080204" pitchFamily="34" charset="-128"/>
              </a:defRPr>
            </a:lvl1pPr>
            <a:lvl2pPr marL="785372" indent="-302066">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2pPr>
            <a:lvl3pPr marL="1208265" indent="-241653">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3pPr>
            <a:lvl4pPr marL="1691571" indent="-241653">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4pPr>
            <a:lvl5pPr marL="2174878" indent="-241653">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5pPr>
            <a:lvl6pPr marL="2658184"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6pPr>
            <a:lvl7pPr marL="3141490"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7pPr>
            <a:lvl8pPr marL="3624796"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8pPr>
            <a:lvl9pPr marL="4108102"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9pPr>
          </a:lstStyle>
          <a:p>
            <a:pPr defTabSz="985072" fontAlgn="base">
              <a:lnSpc>
                <a:spcPct val="100000"/>
              </a:lnSpc>
              <a:spcBef>
                <a:spcPct val="0"/>
              </a:spcBef>
              <a:spcAft>
                <a:spcPct val="0"/>
              </a:spcAft>
            </a:pPr>
            <a:endParaRPr lang="en-US" altLang="en-US" sz="1300">
              <a:solidFill>
                <a:srgbClr val="000000"/>
              </a:solidFill>
              <a:latin typeface="Segoe UI" panose="020B0502040204020203" pitchFamily="34" charset="0"/>
            </a:endParaRPr>
          </a:p>
        </p:txBody>
      </p:sp>
      <p:sp>
        <p:nvSpPr>
          <p:cNvPr id="86021" name="Date Placeholder 4"/>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57"/>
              </a:spcAft>
              <a:defRPr sz="1000">
                <a:solidFill>
                  <a:schemeClr val="tx1"/>
                </a:solidFill>
                <a:latin typeface="Segoe UI Light" panose="020B0502040204020203" pitchFamily="34" charset="0"/>
                <a:ea typeface="MS PGothic" panose="020B0600070205080204" pitchFamily="34" charset="-128"/>
              </a:defRPr>
            </a:lvl1pPr>
            <a:lvl2pPr marL="785372" indent="-302066">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2pPr>
            <a:lvl3pPr marL="1208265" indent="-241653">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3pPr>
            <a:lvl4pPr marL="1691571" indent="-241653">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4pPr>
            <a:lvl5pPr marL="2174878" indent="-241653">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5pPr>
            <a:lvl6pPr marL="2658184"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6pPr>
            <a:lvl7pPr marL="3141490"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7pPr>
            <a:lvl8pPr marL="3624796"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8pPr>
            <a:lvl9pPr marL="4108102"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9pPr>
          </a:lstStyle>
          <a:p>
            <a:pPr>
              <a:lnSpc>
                <a:spcPct val="100000"/>
              </a:lnSpc>
              <a:spcBef>
                <a:spcPct val="0"/>
              </a:spcBef>
              <a:spcAft>
                <a:spcPct val="0"/>
              </a:spcAft>
            </a:pPr>
            <a:fld id="{32DFE749-7D71-48C8-92C6-82258BA5A740}" type="datetime8">
              <a:rPr lang="en-US" altLang="en-US" sz="1300">
                <a:solidFill>
                  <a:srgbClr val="000000"/>
                </a:solidFill>
                <a:latin typeface="Segoe UI" panose="020B0502040204020203" pitchFamily="34" charset="0"/>
              </a:rPr>
              <a:pPr>
                <a:lnSpc>
                  <a:spcPct val="100000"/>
                </a:lnSpc>
                <a:spcBef>
                  <a:spcPct val="0"/>
                </a:spcBef>
                <a:spcAft>
                  <a:spcPct val="0"/>
                </a:spcAft>
              </a:pPr>
              <a:t>6/7/2017 1:57 PM</a:t>
            </a:fld>
            <a:endParaRPr lang="en-US" altLang="en-US" sz="1300">
              <a:solidFill>
                <a:srgbClr val="000000"/>
              </a:solidFill>
              <a:latin typeface="Segoe UI" panose="020B0502040204020203" pitchFamily="34" charset="0"/>
            </a:endParaRPr>
          </a:p>
        </p:txBody>
      </p:sp>
      <p:sp>
        <p:nvSpPr>
          <p:cNvPr id="86022"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57"/>
              </a:spcAft>
              <a:defRPr sz="1000">
                <a:solidFill>
                  <a:schemeClr val="tx1"/>
                </a:solidFill>
                <a:latin typeface="Segoe UI Light" panose="020B0502040204020203" pitchFamily="34" charset="0"/>
                <a:ea typeface="MS PGothic" panose="020B0600070205080204" pitchFamily="34" charset="-128"/>
              </a:defRPr>
            </a:lvl1pPr>
            <a:lvl2pPr marL="785372" indent="-302066">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2pPr>
            <a:lvl3pPr marL="1208265" indent="-241653">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3pPr>
            <a:lvl4pPr marL="1691571" indent="-241653">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4pPr>
            <a:lvl5pPr marL="2174878" indent="-241653">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5pPr>
            <a:lvl6pPr marL="2658184"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6pPr>
            <a:lvl7pPr marL="3141490"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7pPr>
            <a:lvl8pPr marL="3624796"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8pPr>
            <a:lvl9pPr marL="4108102"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9pPr>
          </a:lstStyle>
          <a:p>
            <a:pPr>
              <a:lnSpc>
                <a:spcPct val="100000"/>
              </a:lnSpc>
              <a:spcBef>
                <a:spcPct val="0"/>
              </a:spcBef>
              <a:spcAft>
                <a:spcPct val="0"/>
              </a:spcAft>
            </a:pPr>
            <a:fld id="{719287C1-FF2B-4D7D-ADFA-DB38F7CA58B6}" type="slidenum">
              <a:rPr lang="en-US" altLang="en-US" sz="1300">
                <a:solidFill>
                  <a:srgbClr val="000000"/>
                </a:solidFill>
                <a:latin typeface="Segoe UI" panose="020B0502040204020203" pitchFamily="34" charset="0"/>
              </a:rPr>
              <a:pPr>
                <a:lnSpc>
                  <a:spcPct val="100000"/>
                </a:lnSpc>
                <a:spcBef>
                  <a:spcPct val="0"/>
                </a:spcBef>
                <a:spcAft>
                  <a:spcPct val="0"/>
                </a:spcAft>
              </a:pPr>
              <a:t>28</a:t>
            </a:fld>
            <a:endParaRPr lang="en-US" altLang="en-US" sz="1300">
              <a:solidFill>
                <a:srgbClr val="000000"/>
              </a:solidFill>
              <a:latin typeface="Segoe UI" panose="020B0502040204020203" pitchFamily="34" charset="0"/>
            </a:endParaRPr>
          </a:p>
        </p:txBody>
      </p:sp>
      <p:sp>
        <p:nvSpPr>
          <p:cNvPr id="6" name="Footer Placeholder 5"/>
          <p:cNvSpPr>
            <a:spLocks noGrp="1"/>
          </p:cNvSpPr>
          <p:nvPr>
            <p:ph type="ftr" sz="quarter" idx="4"/>
          </p:nvPr>
        </p:nvSpPr>
        <p:spPr>
          <a:xfrm>
            <a:off x="0" y="9121140"/>
            <a:ext cx="6315456" cy="373762"/>
          </a:xfrm>
        </p:spPr>
        <p:txBody>
          <a:bodyPr rtlCol="0"/>
          <a:lstStyle/>
          <a:p>
            <a:pPr defTabSz="966294" fontAlgn="auto">
              <a:spcBef>
                <a:spcPts val="0"/>
              </a:spcBef>
              <a:spcAft>
                <a:spcPts val="0"/>
              </a:spcAft>
              <a:defRPr/>
            </a:pPr>
            <a:r>
              <a:rPr lang="en-US">
                <a:gradFill>
                  <a:gsLst>
                    <a:gs pos="0">
                      <a:prstClr val="black"/>
                    </a:gs>
                    <a:gs pos="100000">
                      <a:prstClr val="black"/>
                    </a:gs>
                  </a:gsLst>
                  <a:lin ang="5400000" scaled="0"/>
                </a:gradFill>
                <a:ea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6977558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000" b="1" dirty="0">
                <a:ea typeface="ＭＳ Ｐゴシック" charset="0"/>
              </a:rPr>
              <a:t> </a:t>
            </a:r>
            <a:endParaRPr lang="en-US" dirty="0"/>
          </a:p>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DE598D99-56EC-44B0-A1F1-DED5A5FDAEC8}" type="datetime8">
              <a:rPr lang="en-US" altLang="en-US" smtClean="0"/>
              <a:pPr>
                <a:defRPr/>
              </a:pPr>
              <a:t>6/7/2017 1:57 P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3</a:t>
            </a:fld>
            <a:endParaRPr lang="en-US" altLang="en-US"/>
          </a:p>
        </p:txBody>
      </p:sp>
    </p:spTree>
    <p:extLst>
      <p:ext uri="{BB962C8B-B14F-4D97-AF65-F5344CB8AC3E}">
        <p14:creationId xmlns:p14="http://schemas.microsoft.com/office/powerpoint/2010/main" val="29636994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dirty="0"/>
              <a:t>Microsoft Azure IoT Hub provides capabilities for securely connecting, provisioning, updating and sending commands to devices.  IoT Hub enables companies to control millions of IoT assets running on a broad set of operating systems and protocols to jumpstart their Internet of Things projects.   </a:t>
            </a:r>
          </a:p>
          <a:p>
            <a:pPr lvl="1"/>
            <a:r>
              <a:rPr lang="en-US" dirty="0"/>
              <a:t>IoT Hub enables companies to:</a:t>
            </a:r>
          </a:p>
          <a:p>
            <a:pPr marL="664546" lvl="1" indent="-181240"/>
            <a:r>
              <a:rPr lang="en-US" dirty="0"/>
              <a:t>Establish reliable bi-directional communication with IoT assets, even if they are intermittently connected, so companies can analyze incoming telemetry data and send commands and notifications as needed. </a:t>
            </a:r>
          </a:p>
          <a:p>
            <a:pPr marL="664546" lvl="1" indent="-181240"/>
            <a:r>
              <a:rPr lang="en-US" dirty="0"/>
              <a:t>Enhance security of IoT solutions by leveraging per-device authentication to communicate with devices with the appropriate credentials. </a:t>
            </a:r>
          </a:p>
          <a:p>
            <a:pPr marL="664546" lvl="1" indent="-181240"/>
            <a:r>
              <a:rPr lang="en-US" dirty="0"/>
              <a:t>Revoke access rights to specific devices, if needed, to maintain the integrity of the system.  </a:t>
            </a:r>
          </a:p>
          <a:p>
            <a:endParaRPr lang="en-US" dirty="0"/>
          </a:p>
        </p:txBody>
      </p:sp>
      <p:sp>
        <p:nvSpPr>
          <p:cNvPr id="4" name="Slide Number Placeholder 3"/>
          <p:cNvSpPr>
            <a:spLocks noGrp="1"/>
          </p:cNvSpPr>
          <p:nvPr>
            <p:ph type="sldNum" sz="quarter" idx="10"/>
          </p:nvPr>
        </p:nvSpPr>
        <p:spPr/>
        <p:txBody>
          <a:bodyPr/>
          <a:lstStyle/>
          <a:p>
            <a:fld id="{49015862-6663-4E96-82D9-691832C5BE93}" type="slidenum">
              <a:rPr lang="en-US" smtClean="0"/>
              <a:t>4</a:t>
            </a:fld>
            <a:endParaRPr lang="en-US"/>
          </a:p>
        </p:txBody>
      </p:sp>
    </p:spTree>
    <p:extLst>
      <p:ext uri="{BB962C8B-B14F-4D97-AF65-F5344CB8AC3E}">
        <p14:creationId xmlns:p14="http://schemas.microsoft.com/office/powerpoint/2010/main" val="37107352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dirty="0"/>
              <a:t>Microsoft Azure IoT Hub provides capabilities for securely connecting, provisioning, updating and sending commands to devices.  IoT Hub enables companies to control millions of IoT assets running on a broad set of operating systems and protocols to jumpstart their Internet of Things projects.   </a:t>
            </a:r>
          </a:p>
          <a:p>
            <a:pPr lvl="1"/>
            <a:r>
              <a:rPr lang="en-US" dirty="0"/>
              <a:t>IoT Hub enables companies to:</a:t>
            </a:r>
          </a:p>
          <a:p>
            <a:pPr marL="664546" lvl="1" indent="-181240"/>
            <a:r>
              <a:rPr lang="en-US" dirty="0"/>
              <a:t>Establish reliable bi-directional communication with IoT assets, even if they are intermittently connected, so companies can analyze incoming telemetry data and send commands and notifications as needed. </a:t>
            </a:r>
          </a:p>
          <a:p>
            <a:pPr marL="664546" lvl="1" indent="-181240"/>
            <a:r>
              <a:rPr lang="en-US" dirty="0"/>
              <a:t>Enhance security of IoT solutions by leveraging per-device authentication to communicate with devices with the appropriate credentials. </a:t>
            </a:r>
          </a:p>
          <a:p>
            <a:pPr marL="664546" lvl="1" indent="-181240"/>
            <a:r>
              <a:rPr lang="en-US" dirty="0"/>
              <a:t>Revoke access rights to specific devices, if needed, to maintain the integrity of the system.  </a:t>
            </a:r>
          </a:p>
          <a:p>
            <a:endParaRPr lang="en-US" dirty="0"/>
          </a:p>
        </p:txBody>
      </p:sp>
      <p:sp>
        <p:nvSpPr>
          <p:cNvPr id="4" name="Slide Number Placeholder 3"/>
          <p:cNvSpPr>
            <a:spLocks noGrp="1"/>
          </p:cNvSpPr>
          <p:nvPr>
            <p:ph type="sldNum" sz="quarter" idx="10"/>
          </p:nvPr>
        </p:nvSpPr>
        <p:spPr/>
        <p:txBody>
          <a:bodyPr/>
          <a:lstStyle/>
          <a:p>
            <a:fld id="{49015862-6663-4E96-82D9-691832C5BE93}" type="slidenum">
              <a:rPr lang="en-US" smtClean="0"/>
              <a:t>5</a:t>
            </a:fld>
            <a:endParaRPr lang="en-US"/>
          </a:p>
        </p:txBody>
      </p:sp>
    </p:spTree>
    <p:extLst>
      <p:ext uri="{BB962C8B-B14F-4D97-AF65-F5344CB8AC3E}">
        <p14:creationId xmlns:p14="http://schemas.microsoft.com/office/powerpoint/2010/main" val="6671836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3350" y="893763"/>
            <a:ext cx="3144838" cy="1768475"/>
          </a:xfrm>
        </p:spPr>
      </p:sp>
      <p:sp>
        <p:nvSpPr>
          <p:cNvPr id="3" name="Notes Placeholder 2"/>
          <p:cNvSpPr>
            <a:spLocks noGrp="1"/>
          </p:cNvSpPr>
          <p:nvPr>
            <p:ph type="body" idx="1"/>
          </p:nvPr>
        </p:nvSpPr>
        <p:spPr/>
        <p:txBody>
          <a:bodyPr/>
          <a:lstStyle/>
          <a:p>
            <a:r>
              <a:rPr lang="en-US" dirty="0"/>
              <a:t>Connecting your</a:t>
            </a:r>
            <a:r>
              <a:rPr lang="en-US" baseline="0" dirty="0"/>
              <a:t> devices is the 1</a:t>
            </a:r>
            <a:r>
              <a:rPr lang="en-US" baseline="30000" dirty="0"/>
              <a:t>st</a:t>
            </a:r>
            <a:r>
              <a:rPr lang="en-US" baseline="0" dirty="0"/>
              <a:t> challenge that you have when creating an IoT solution.  There is a vast variety of devices you may want to connect.  Some are internet capable and in that case you can connect them directly to Azure service (</a:t>
            </a:r>
            <a:r>
              <a:rPr lang="en-US" baseline="0" dirty="0" err="1"/>
              <a:t>eg</a:t>
            </a:r>
            <a:r>
              <a:rPr lang="en-US" baseline="0" dirty="0"/>
              <a:t>: IoT Hub) or you can use your own Cloud protocol gateway in case the device you are trying to connect does not have a protocol supported by IoT Hub (at this time AMQP or HTP).  However, some devices are not internet capable and those devices need a field gateway to connect to the cloud.  This gateway can do many things – not only connectivity and protocol translation but on the application back end side, one of the most important use cases is telemetry.  You usually want to have an event processing and insight pipeline and IoT Hub will allow you to get a feed from the devices and events easily.</a:t>
            </a:r>
          </a:p>
          <a:p>
            <a:endParaRPr lang="en-US" baseline="0" dirty="0"/>
          </a:p>
          <a:p>
            <a:r>
              <a:rPr lang="en-US" baseline="0" dirty="0"/>
              <a:t>The 2</a:t>
            </a:r>
            <a:r>
              <a:rPr lang="en-US" baseline="30000" dirty="0"/>
              <a:t>nd</a:t>
            </a:r>
            <a:r>
              <a:rPr lang="en-US" baseline="0" dirty="0"/>
              <a:t> big component that IoT solutions have with cloud is device big logic that takes care of interactive scenarios of your solutions – think about opening your car door or adjusting your home thermostat from your smart phone or sending a command to a device to update a piece of firmware.  </a:t>
            </a:r>
          </a:p>
          <a:p>
            <a:endParaRPr lang="en-US" baseline="0" dirty="0"/>
          </a:p>
          <a:p>
            <a:r>
              <a:rPr lang="en-US" baseline="0" dirty="0"/>
              <a:t>Finally IoT Hub has to know which devices have to connect and which devices are present for IoT solution. For this purpose it has to interact with the visioning and management component which is the component that makes sure that the devices are on-boarded and de-provisioned correctly from your own IoT solutions.</a:t>
            </a:r>
          </a:p>
          <a:p>
            <a:endParaRPr lang="en-US" dirty="0"/>
          </a:p>
        </p:txBody>
      </p:sp>
      <p:sp>
        <p:nvSpPr>
          <p:cNvPr id="4" name="Header Placeholder 3"/>
          <p:cNvSpPr>
            <a:spLocks noGrp="1"/>
          </p:cNvSpPr>
          <p:nvPr>
            <p:ph type="hdr" sz="quarter" idx="10"/>
          </p:nvPr>
        </p:nvSpPr>
        <p:spPr/>
        <p:txBody>
          <a:bodyPr/>
          <a:lstStyle/>
          <a:p>
            <a:pPr>
              <a:defRPr/>
            </a:pPr>
            <a:r>
              <a:rPr lang="en-US">
                <a:solidFill>
                  <a:prstClr val="black"/>
                </a:solidFill>
              </a:rPr>
              <a:t>Microsoft Ignit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66294" fontAlgn="auto">
              <a:spcBef>
                <a:spcPts val="0"/>
              </a:spcBef>
              <a:spcAft>
                <a:spcPts val="0"/>
              </a:spcAft>
              <a:defRPr/>
            </a:pPr>
            <a:r>
              <a:rPr lang="en-US">
                <a:gradFill>
                  <a:gsLst>
                    <a:gs pos="0">
                      <a:prstClr val="black"/>
                    </a:gs>
                    <a:gs pos="100000">
                      <a:prstClr val="black"/>
                    </a:gs>
                  </a:gsLst>
                  <a:lin ang="5400000" scaled="0"/>
                </a:gradFill>
                <a:ea typeface="Segoe UI" pitchFamily="34" charset="0"/>
              </a:rPr>
              <a:t>© 2015 Microsoft Corporation. All rights reserved. MICROSOFT MAKES NO WARRANTIES, EXPRESS, IMPLIED OR STATUTORY, AS TO THE INFORMATION IN THIS PRESENTATION.</a:t>
            </a:r>
            <a:endParaRPr lang="en-US" dirty="0">
              <a:gradFill>
                <a:gsLst>
                  <a:gs pos="0">
                    <a:prstClr val="black"/>
                  </a:gs>
                  <a:gs pos="100000">
                    <a:prstClr val="black"/>
                  </a:gs>
                </a:gsLst>
                <a:lin ang="5400000" scaled="0"/>
              </a:gradFill>
              <a:ea typeface="Segoe UI" pitchFamily="34" charset="0"/>
            </a:endParaRPr>
          </a:p>
        </p:txBody>
      </p:sp>
      <p:sp>
        <p:nvSpPr>
          <p:cNvPr id="6" name="Date Placeholder 5"/>
          <p:cNvSpPr>
            <a:spLocks noGrp="1"/>
          </p:cNvSpPr>
          <p:nvPr>
            <p:ph type="dt" idx="12"/>
          </p:nvPr>
        </p:nvSpPr>
        <p:spPr/>
        <p:txBody>
          <a:bodyPr/>
          <a:lstStyle/>
          <a:p>
            <a:pPr defTabSz="986002" fontAlgn="auto">
              <a:spcBef>
                <a:spcPts val="0"/>
              </a:spcBef>
              <a:spcAft>
                <a:spcPts val="0"/>
              </a:spcAft>
              <a:defRPr/>
            </a:pPr>
            <a:fld id="{38EEC551-8CDA-4EB6-89BB-2A86C9F091C8}" type="datetime8">
              <a:rPr lang="en-US">
                <a:solidFill>
                  <a:prstClr val="black"/>
                </a:solidFill>
                <a:ea typeface="+mn-ea"/>
              </a:rPr>
              <a:pPr defTabSz="986002" fontAlgn="auto">
                <a:spcBef>
                  <a:spcPts val="0"/>
                </a:spcBef>
                <a:spcAft>
                  <a:spcPts val="0"/>
                </a:spcAft>
                <a:defRPr/>
              </a:pPr>
              <a:t>6/7/2017 1:57 PM</a:t>
            </a:fld>
            <a:endParaRPr lang="en-US" dirty="0">
              <a:solidFill>
                <a:prstClr val="black"/>
              </a:solidFill>
              <a:ea typeface="+mn-ea"/>
            </a:endParaRPr>
          </a:p>
        </p:txBody>
      </p:sp>
      <p:sp>
        <p:nvSpPr>
          <p:cNvPr id="7" name="Slide Number Placeholder 6"/>
          <p:cNvSpPr>
            <a:spLocks noGrp="1"/>
          </p:cNvSpPr>
          <p:nvPr>
            <p:ph type="sldNum" sz="quarter" idx="13"/>
          </p:nvPr>
        </p:nvSpPr>
        <p:spPr/>
        <p:txBody>
          <a:bodyPr/>
          <a:lstStyle/>
          <a:p>
            <a:pPr defTabSz="986002" fontAlgn="auto">
              <a:spcBef>
                <a:spcPts val="0"/>
              </a:spcBef>
              <a:spcAft>
                <a:spcPts val="0"/>
              </a:spcAft>
              <a:defRPr/>
            </a:pPr>
            <a:fld id="{B4008EB6-D09E-4580-8CD6-DDB14511944F}" type="slidenum">
              <a:rPr lang="en-US">
                <a:solidFill>
                  <a:prstClr val="black"/>
                </a:solidFill>
                <a:ea typeface="+mn-ea"/>
              </a:rPr>
              <a:pPr defTabSz="986002" fontAlgn="auto">
                <a:spcBef>
                  <a:spcPts val="0"/>
                </a:spcBef>
                <a:spcAft>
                  <a:spcPts val="0"/>
                </a:spcAft>
                <a:defRPr/>
              </a:pPr>
              <a:t>6</a:t>
            </a:fld>
            <a:endParaRPr lang="en-US" dirty="0">
              <a:solidFill>
                <a:prstClr val="black"/>
              </a:solidFill>
              <a:ea typeface="+mn-ea"/>
            </a:endParaRPr>
          </a:p>
        </p:txBody>
      </p:sp>
    </p:spTree>
    <p:extLst>
      <p:ext uri="{BB962C8B-B14F-4D97-AF65-F5344CB8AC3E}">
        <p14:creationId xmlns:p14="http://schemas.microsoft.com/office/powerpoint/2010/main" val="19018421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a:t>
            </a:r>
            <a:r>
              <a:rPr lang="en-US" baseline="0" dirty="0"/>
              <a:t> might be wondering why you need IoT Hub in the first place.  After all there are service in Azure that allows you to perform the device to cloud messaging – for instance using service bus.  </a:t>
            </a:r>
          </a:p>
          <a:p>
            <a:r>
              <a:rPr lang="en-US" baseline="0" dirty="0"/>
              <a:t>IoT Hub in addition to communication patterns adds other value propositions to your IoT solutions.  It scales up to millions of simultaneously connected devices you do not have to scale those services on your own.  These communication patterns will scale with you just by increasing the # of units in your IoT deployment.</a:t>
            </a:r>
          </a:p>
          <a:p>
            <a:endParaRPr lang="en-US" baseline="0" dirty="0"/>
          </a:p>
          <a:p>
            <a:r>
              <a:rPr lang="en-US" baseline="0" dirty="0"/>
              <a:t>IoT Hub supports per device authentication and security. Per device authentication is fundamental because you want to have fine grain control on which devices access your solution and you want to make sure that you are sending commands to the right devices.  This per device authentication and per device identity is embedded and designed into the communication pattern in the device to cloud messaging and cloud to device messaging.</a:t>
            </a:r>
          </a:p>
          <a:p>
            <a:endParaRPr lang="en-US" baseline="0" dirty="0"/>
          </a:p>
          <a:p>
            <a:r>
              <a:rPr lang="en-US" baseline="0" dirty="0"/>
              <a:t>There is also service facing monitoring.  IoT solutions usually have the problem that devices cannot be reached without a cloud connection.  Mostly it requires someone physically going to the device location to deliver maintenance on it.  Since this is the case, it is very important to have monitoring on the status of each and every piece of communication.  </a:t>
            </a:r>
          </a:p>
          <a:p>
            <a:endParaRPr lang="en-US" baseline="0" dirty="0"/>
          </a:p>
          <a:p>
            <a:r>
              <a:rPr lang="en-US" baseline="0" dirty="0"/>
              <a:t>Finally, IoT Hub supports many IoT protocols and is designed to support constrained devices,  where device is retrained in networking resources, power resources or computational resources.  </a:t>
            </a:r>
          </a:p>
          <a:p>
            <a:endParaRPr lang="en-US" baseline="0" dirty="0"/>
          </a:p>
          <a:p>
            <a:r>
              <a:rPr lang="en-US" baseline="0" dirty="0"/>
              <a:t>Of course, your IoT solution might need different communication patterns.  You can thinking about uploading or downloading files or using real time proxy strategy like an HTP or WEB API.  These patterns while they are not currently supported in IoT Hub do benefit from IoT Hub in many ways and we do provide guidance on how to implement them.</a:t>
            </a:r>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DE598D99-56EC-44B0-A1F1-DED5A5FDAEC8}" type="datetime8">
              <a:rPr lang="en-US" altLang="en-US" smtClean="0"/>
              <a:pPr>
                <a:defRPr/>
              </a:pPr>
              <a:t>6/7/2017 1:57 P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7</a:t>
            </a:fld>
            <a:endParaRPr lang="en-US" altLang="en-US"/>
          </a:p>
        </p:txBody>
      </p:sp>
    </p:spTree>
    <p:extLst>
      <p:ext uri="{BB962C8B-B14F-4D97-AF65-F5344CB8AC3E}">
        <p14:creationId xmlns:p14="http://schemas.microsoft.com/office/powerpoint/2010/main" val="560014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A5F27D4-9122-47BC-9AC6-5C9D2E3822B3}" type="datetime1">
              <a:rPr lang="en-US" smtClean="0">
                <a:solidFill>
                  <a:prstClr val="black"/>
                </a:solidFill>
              </a:rPr>
              <a:pPr/>
              <a:t>6/7/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9543444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A5F27D4-9122-47BC-9AC6-5C9D2E3822B3}" type="datetime1">
              <a:rPr lang="en-US" smtClean="0">
                <a:solidFill>
                  <a:prstClr val="black"/>
                </a:solidFill>
              </a:rPr>
              <a:pPr/>
              <a:t>6/7/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40072416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80146" y="1593198"/>
            <a:ext cx="11887200" cy="2091598"/>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4394861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248960" y="-1925157"/>
            <a:ext cx="1554559" cy="1554339"/>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10088877" y="-1910252"/>
            <a:ext cx="1554559" cy="1554339"/>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80146" y="1073466"/>
            <a:ext cx="11939339" cy="583860"/>
          </a:xfrm>
        </p:spPr>
        <p:txBody>
          <a:bodyPr/>
          <a:lstStyle>
            <a:lvl1pPr marL="0" indent="0">
              <a:buNone/>
              <a:defRPr sz="2856">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80145" y="2167979"/>
            <a:ext cx="11939339" cy="1845753"/>
          </a:xfrm>
        </p:spPr>
        <p:txBody>
          <a:bodyPr/>
          <a:lstStyle>
            <a:lvl1pPr marL="0" indent="0">
              <a:buFontTx/>
              <a:buNone/>
              <a:defRPr sz="3672">
                <a:solidFill>
                  <a:srgbClr val="00BCF2"/>
                </a:solidFill>
              </a:defRPr>
            </a:lvl1pPr>
            <a:lvl2pPr marL="0" indent="0">
              <a:spcAft>
                <a:spcPts val="612"/>
              </a:spcAft>
              <a:buFontTx/>
              <a:buNone/>
              <a:defRPr sz="1836">
                <a:solidFill>
                  <a:schemeClr val="tx1"/>
                </a:solidFill>
              </a:defRPr>
            </a:lvl2pPr>
            <a:lvl3pPr marL="0" indent="0">
              <a:buFontTx/>
              <a:buNone/>
              <a:defRPr sz="1632">
                <a:solidFill>
                  <a:schemeClr val="tx1"/>
                </a:solidFill>
              </a:defRPr>
            </a:lvl3pPr>
            <a:lvl4pPr marL="0" indent="0">
              <a:buFontTx/>
              <a:buNone/>
              <a:defRPr sz="1428">
                <a:solidFill>
                  <a:schemeClr val="tx1"/>
                </a:solidFill>
              </a:defRPr>
            </a:lvl4pPr>
            <a:lvl5pPr marL="0" indent="0">
              <a:buFontTx/>
              <a:buNone/>
              <a:defRPr sz="142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3812906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248960" y="-1925157"/>
            <a:ext cx="1554559" cy="1554339"/>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10088877" y="-1910252"/>
            <a:ext cx="1554559" cy="1554339"/>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80146" y="1073466"/>
            <a:ext cx="11939339" cy="583860"/>
          </a:xfrm>
        </p:spPr>
        <p:txBody>
          <a:bodyPr/>
          <a:lstStyle>
            <a:lvl1pPr marL="0" indent="0">
              <a:buNone/>
              <a:defRPr sz="2856">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80145" y="2167979"/>
            <a:ext cx="5596414" cy="2343911"/>
          </a:xfrm>
        </p:spPr>
        <p:txBody>
          <a:bodyPr/>
          <a:lstStyle>
            <a:lvl1pPr marL="0" indent="0">
              <a:buFontTx/>
              <a:buNone/>
              <a:defRPr sz="3672">
                <a:solidFill>
                  <a:srgbClr val="00BCF2"/>
                </a:solidFill>
              </a:defRPr>
            </a:lvl1pPr>
            <a:lvl2pPr marL="0" indent="0">
              <a:buFontTx/>
              <a:buNone/>
              <a:defRPr sz="1836">
                <a:solidFill>
                  <a:schemeClr val="tx1"/>
                </a:solidFill>
              </a:defRPr>
            </a:lvl2pPr>
            <a:lvl3pPr marL="0" indent="0">
              <a:buFontTx/>
              <a:buNone/>
              <a:defRPr sz="1632">
                <a:solidFill>
                  <a:schemeClr val="tx1"/>
                </a:solidFill>
              </a:defRPr>
            </a:lvl3pPr>
            <a:lvl4pPr marL="0" indent="0">
              <a:buFontTx/>
              <a:buNone/>
              <a:defRPr sz="1428">
                <a:solidFill>
                  <a:schemeClr val="tx1"/>
                </a:solidFill>
              </a:defRPr>
            </a:lvl4pPr>
            <a:lvl5pPr marL="0" indent="0">
              <a:buFontTx/>
              <a:buNone/>
              <a:defRPr sz="142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8544564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248960" y="-1925157"/>
            <a:ext cx="1554559" cy="1554339"/>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10088877" y="-1910252"/>
            <a:ext cx="1554559" cy="1554339"/>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80146" y="1073466"/>
            <a:ext cx="11939339" cy="583860"/>
          </a:xfrm>
        </p:spPr>
        <p:txBody>
          <a:bodyPr/>
          <a:lstStyle>
            <a:lvl1pPr marL="0" indent="0">
              <a:buNone/>
              <a:defRPr sz="2856">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80145" y="2167979"/>
            <a:ext cx="5596414" cy="2343911"/>
          </a:xfrm>
        </p:spPr>
        <p:txBody>
          <a:bodyPr/>
          <a:lstStyle>
            <a:lvl1pPr marL="0" indent="0">
              <a:buFontTx/>
              <a:buNone/>
              <a:defRPr sz="3672">
                <a:solidFill>
                  <a:srgbClr val="00BCF2"/>
                </a:solidFill>
              </a:defRPr>
            </a:lvl1pPr>
            <a:lvl2pPr marL="0" indent="0">
              <a:buFontTx/>
              <a:buNone/>
              <a:defRPr sz="1836">
                <a:solidFill>
                  <a:schemeClr val="tx1"/>
                </a:solidFill>
              </a:defRPr>
            </a:lvl2pPr>
            <a:lvl3pPr marL="0" indent="0">
              <a:buFontTx/>
              <a:buNone/>
              <a:defRPr sz="1632">
                <a:solidFill>
                  <a:schemeClr val="tx1"/>
                </a:solidFill>
              </a:defRPr>
            </a:lvl3pPr>
            <a:lvl4pPr marL="0" indent="0">
              <a:buFontTx/>
              <a:buNone/>
              <a:defRPr sz="1428">
                <a:solidFill>
                  <a:schemeClr val="tx1"/>
                </a:solidFill>
              </a:defRPr>
            </a:lvl4pPr>
            <a:lvl5pPr marL="0" indent="0">
              <a:buFontTx/>
              <a:buNone/>
              <a:defRPr sz="142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383677" y="2167979"/>
            <a:ext cx="5596414" cy="2343911"/>
          </a:xfrm>
        </p:spPr>
        <p:txBody>
          <a:bodyPr/>
          <a:lstStyle>
            <a:lvl1pPr marL="0" indent="0">
              <a:buFontTx/>
              <a:buNone/>
              <a:defRPr sz="3672">
                <a:solidFill>
                  <a:srgbClr val="00BCF2"/>
                </a:solidFill>
              </a:defRPr>
            </a:lvl1pPr>
            <a:lvl2pPr marL="0" indent="0">
              <a:buFontTx/>
              <a:buNone/>
              <a:defRPr sz="1836">
                <a:solidFill>
                  <a:schemeClr val="tx1"/>
                </a:solidFill>
              </a:defRPr>
            </a:lvl2pPr>
            <a:lvl3pPr marL="0" indent="0">
              <a:buFontTx/>
              <a:buNone/>
              <a:defRPr sz="1632">
                <a:solidFill>
                  <a:schemeClr val="tx1"/>
                </a:solidFill>
              </a:defRPr>
            </a:lvl3pPr>
            <a:lvl4pPr marL="0" indent="0">
              <a:buFontTx/>
              <a:buNone/>
              <a:defRPr sz="1428">
                <a:solidFill>
                  <a:schemeClr val="tx1"/>
                </a:solidFill>
              </a:defRPr>
            </a:lvl4pPr>
            <a:lvl5pPr marL="0" indent="0">
              <a:buFontTx/>
              <a:buNone/>
              <a:defRPr sz="142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1498059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40" y="1593198"/>
            <a:ext cx="11887200" cy="2091598"/>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8652591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16150" y="1593197"/>
            <a:ext cx="11887200" cy="2146998"/>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1265912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80146" y="1593197"/>
            <a:ext cx="11887200" cy="2146998"/>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700718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593198"/>
            <a:ext cx="5486399" cy="1980799"/>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593198"/>
            <a:ext cx="5486399" cy="1980799"/>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541660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593198"/>
            <a:ext cx="5486399" cy="1980799"/>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593198"/>
            <a:ext cx="5486399" cy="1980799"/>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863305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593197"/>
            <a:ext cx="5486399" cy="2479140"/>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593197"/>
            <a:ext cx="5486399" cy="2479140"/>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1738953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74641" y="1607907"/>
            <a:ext cx="5486399" cy="2479140"/>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607907"/>
            <a:ext cx="5486399" cy="2479140"/>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1267029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424950421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5892355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508499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0458" y="2125664"/>
            <a:ext cx="11521382" cy="1181862"/>
          </a:xfrm>
          <a:noFill/>
        </p:spPr>
        <p:txBody>
          <a:bodyPr wrap="square" tIns="91440" bIns="91440" anchor="t" anchorCtr="0">
            <a:spAutoFit/>
          </a:bodyPr>
          <a:lstStyle>
            <a:lvl1pPr>
              <a:defRPr sz="7196" spc="-100" baseline="0">
                <a:solidFill>
                  <a:schemeClr val="tx1"/>
                </a:solidFill>
              </a:defRPr>
            </a:lvl1pPr>
          </a:lstStyle>
          <a:p>
            <a:r>
              <a:rPr lang="en-US" dirty="0"/>
              <a:t>Section title</a:t>
            </a:r>
          </a:p>
        </p:txBody>
      </p:sp>
    </p:spTree>
    <p:extLst>
      <p:ext uri="{BB962C8B-B14F-4D97-AF65-F5344CB8AC3E}">
        <p14:creationId xmlns:p14="http://schemas.microsoft.com/office/powerpoint/2010/main" val="213173597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1896" y="2125664"/>
            <a:ext cx="11399943" cy="1181862"/>
          </a:xfrm>
          <a:noFill/>
        </p:spPr>
        <p:txBody>
          <a:bodyPr wrap="square" tIns="91440" bIns="91440" anchor="t" anchorCtr="0">
            <a:spAutoFit/>
          </a:bodyPr>
          <a:lstStyle>
            <a:lvl1pPr>
              <a:defRPr sz="7196" spc="-100"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31896" y="4229100"/>
            <a:ext cx="10698103" cy="928459"/>
          </a:xfrm>
        </p:spPr>
        <p:txBody>
          <a:bodyPr/>
          <a:lstStyle>
            <a:lvl1pPr marL="0" indent="0">
              <a:buNone/>
              <a:defRPr sz="3200"/>
            </a:lvl1pPr>
            <a:lvl2pPr marL="0" indent="0">
              <a:buNone/>
              <a:defRPr sz="1800"/>
            </a:lvl2pPr>
            <a:lvl3pPr marL="0" indent="0">
              <a:buNone/>
              <a:defRPr sz="1600"/>
            </a:lvl3pPr>
            <a:lvl4pPr marL="0" indent="0">
              <a:buNone/>
              <a:defRPr sz="1400"/>
            </a:lvl4pPr>
            <a:lvl5pPr marL="0" indent="0">
              <a:buNone/>
              <a:defRPr sz="1400"/>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63426629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103440" y="2125663"/>
            <a:ext cx="8229600" cy="1828801"/>
          </a:xfrm>
          <a:noFill/>
        </p:spPr>
        <p:txBody>
          <a:bodyPr wrap="square" tIns="91440" bIns="91440" anchor="t" anchorCtr="0">
            <a:noAutofit/>
          </a:bodyPr>
          <a:lstStyle>
            <a:lvl1pPr>
              <a:defRPr sz="5998" spc="-100"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7928982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000162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9232" y="3145040"/>
            <a:ext cx="3109220" cy="667512"/>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5648048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72985"/>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6983857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214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199">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162315350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56"/>
            </a:lvl1pPr>
          </a:lstStyle>
          <a:p>
            <a:r>
              <a:rPr lang="en-US"/>
              <a:t>Click to edit Master title style</a:t>
            </a:r>
            <a:endParaRPr lang="en-US" dirty="0"/>
          </a:p>
        </p:txBody>
      </p:sp>
    </p:spTree>
    <p:extLst>
      <p:ext uri="{BB962C8B-B14F-4D97-AF65-F5344CB8AC3E}">
        <p14:creationId xmlns:p14="http://schemas.microsoft.com/office/powerpoint/2010/main" val="3856877070"/>
      </p:ext>
    </p:extLst>
  </p:cSld>
  <p:clrMapOvr>
    <a:masterClrMapping/>
  </p:clrMapOvr>
  <p:transition>
    <p:fade/>
  </p:transition>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18748" y="3646608"/>
            <a:ext cx="11416646" cy="3137431"/>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122"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343878" y="1832622"/>
            <a:ext cx="9591516" cy="1772472"/>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18748" y="1869342"/>
            <a:ext cx="1825130" cy="161790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856"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415931" y="2036381"/>
            <a:ext cx="0" cy="1340144"/>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30578" y="2525892"/>
            <a:ext cx="1735752" cy="437100"/>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45114" y="2146135"/>
            <a:ext cx="1172397" cy="1120636"/>
          </a:xfrm>
        </p:spPr>
        <p:txBody>
          <a:bodyPr/>
          <a:lstStyle>
            <a:lvl1pPr marL="0" indent="0" algn="ctr">
              <a:buNone/>
              <a:defRPr sz="6731"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526159" y="2269787"/>
            <a:ext cx="2712628" cy="904043"/>
          </a:xfrm>
        </p:spPr>
        <p:txBody>
          <a:bodyPr lIns="0" tIns="0" rIns="0" bIns="0" anchor="ctr"/>
          <a:lstStyle>
            <a:lvl1pPr marL="0" indent="0">
              <a:buNone/>
              <a:defRPr sz="3264">
                <a:solidFill>
                  <a:schemeClr val="bg1"/>
                </a:solidFill>
              </a:defRPr>
            </a:lvl1pPr>
            <a:lvl2pPr marL="342769" indent="0">
              <a:buNone/>
              <a:defRPr/>
            </a:lvl2pPr>
            <a:lvl3pPr marL="571280" indent="0">
              <a:buNone/>
              <a:defRPr/>
            </a:lvl3pPr>
            <a:lvl4pPr marL="799792" indent="0">
              <a:buNone/>
              <a:defRPr/>
            </a:lvl4pPr>
            <a:lvl5pPr marL="1028304" indent="0">
              <a:buNone/>
              <a:defRPr/>
            </a:lvl5pPr>
          </a:lstStyle>
          <a:p>
            <a:pPr lvl="0"/>
            <a:r>
              <a:rPr lang="en-US" dirty="0"/>
              <a:t>Edit Master text styles</a:t>
            </a:r>
          </a:p>
        </p:txBody>
      </p:sp>
      <p:sp>
        <p:nvSpPr>
          <p:cNvPr id="68" name="Text Placeholder 66"/>
          <p:cNvSpPr>
            <a:spLocks noGrp="1"/>
          </p:cNvSpPr>
          <p:nvPr>
            <p:ph type="body" sz="quarter" idx="12"/>
          </p:nvPr>
        </p:nvSpPr>
        <p:spPr>
          <a:xfrm>
            <a:off x="5565153" y="2580552"/>
            <a:ext cx="6116681" cy="282513"/>
          </a:xfrm>
        </p:spPr>
        <p:txBody>
          <a:bodyPr lIns="0" tIns="0" rIns="0" bIns="0" anchor="ctr"/>
          <a:lstStyle>
            <a:lvl1pPr marL="0" indent="0">
              <a:buNone/>
              <a:defRPr sz="2040">
                <a:solidFill>
                  <a:schemeClr val="bg1"/>
                </a:solidFill>
                <a:latin typeface="+mn-lt"/>
              </a:defRPr>
            </a:lvl1pPr>
            <a:lvl2pPr marL="342769" indent="0">
              <a:buNone/>
              <a:defRPr/>
            </a:lvl2pPr>
            <a:lvl3pPr marL="571280" indent="0">
              <a:buNone/>
              <a:defRPr/>
            </a:lvl3pPr>
            <a:lvl4pPr marL="799792" indent="0">
              <a:buNone/>
              <a:defRPr/>
            </a:lvl4pPr>
            <a:lvl5pPr marL="1028304" indent="0">
              <a:buNone/>
              <a:defRPr/>
            </a:lvl5pPr>
          </a:lstStyle>
          <a:p>
            <a:pPr lvl="0"/>
            <a:r>
              <a:rPr lang="en-US" dirty="0"/>
              <a:t>Edit Master text styles</a:t>
            </a:r>
          </a:p>
        </p:txBody>
      </p:sp>
      <p:sp>
        <p:nvSpPr>
          <p:cNvPr id="69" name="Text Placeholder 7"/>
          <p:cNvSpPr>
            <a:spLocks noGrp="1"/>
          </p:cNvSpPr>
          <p:nvPr>
            <p:ph type="body" sz="quarter" idx="13"/>
          </p:nvPr>
        </p:nvSpPr>
        <p:spPr>
          <a:xfrm>
            <a:off x="280146" y="1073466"/>
            <a:ext cx="11939339" cy="583860"/>
          </a:xfrm>
        </p:spPr>
        <p:txBody>
          <a:bodyPr/>
          <a:lstStyle>
            <a:lvl1pPr marL="0" indent="0">
              <a:buNone/>
              <a:defRPr sz="2856">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1935093476"/>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889564" cy="917575"/>
          </a:xfrm>
        </p:spPr>
        <p:txBody>
          <a:bodyPr/>
          <a:lstStyle>
            <a:lvl1pPr>
              <a:defRPr sz="2856"/>
            </a:lvl1pPr>
          </a:lstStyle>
          <a:p>
            <a:r>
              <a:rPr lang="en-US"/>
              <a:t>Click to edit Master title style</a:t>
            </a:r>
            <a:endParaRPr lang="en-US" dirty="0"/>
          </a:p>
        </p:txBody>
      </p:sp>
      <p:sp>
        <p:nvSpPr>
          <p:cNvPr id="6" name="Text Placeholder 5"/>
          <p:cNvSpPr>
            <a:spLocks noGrp="1"/>
          </p:cNvSpPr>
          <p:nvPr>
            <p:ph type="body" sz="quarter" idx="10"/>
          </p:nvPr>
        </p:nvSpPr>
        <p:spPr>
          <a:xfrm>
            <a:off x="5876559" y="1942924"/>
            <a:ext cx="6287644" cy="1349537"/>
          </a:xfrm>
        </p:spPr>
        <p:txBody>
          <a:bodyPr/>
          <a:lstStyle>
            <a:lvl1pPr marL="0" indent="0">
              <a:spcBef>
                <a:spcPts val="1224"/>
              </a:spcBef>
              <a:buNone/>
              <a:defRPr sz="1632">
                <a:solidFill>
                  <a:schemeClr val="tx1"/>
                </a:solidFill>
                <a:latin typeface="Segoe Semibold" panose="020B0702040504020203" pitchFamily="34" charset="0"/>
              </a:defRPr>
            </a:lvl1pPr>
            <a:lvl2pPr marL="0" indent="0">
              <a:spcBef>
                <a:spcPts val="612"/>
              </a:spcBef>
              <a:buNone/>
              <a:defRPr sz="1428">
                <a:solidFill>
                  <a:schemeClr val="tx1"/>
                </a:solidFill>
              </a:defRPr>
            </a:lvl2pPr>
            <a:lvl3pPr marL="351343" indent="-228292">
              <a:defRPr sz="1224">
                <a:solidFill>
                  <a:schemeClr val="tx1"/>
                </a:solidFill>
              </a:defRPr>
            </a:lvl3pPr>
            <a:lvl4pPr marL="519729" indent="-168385">
              <a:defRPr sz="1122">
                <a:solidFill>
                  <a:schemeClr val="tx1"/>
                </a:solidFill>
              </a:defRPr>
            </a:lvl4pPr>
            <a:lvl5pPr marL="994122" indent="-228292">
              <a:defRPr sz="1122">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74639" y="1504812"/>
            <a:ext cx="5134487" cy="510683"/>
          </a:xfrm>
        </p:spPr>
        <p:txBody>
          <a:bodyPr vert="horz" wrap="square" lIns="146304" tIns="0" rIns="0" bIns="0" rtlCol="0" anchor="t" anchorCtr="0">
            <a:spAutoFit/>
          </a:bodyPr>
          <a:lstStyle>
            <a:lvl1pPr marL="0" indent="0">
              <a:spcBef>
                <a:spcPts val="0"/>
              </a:spcBef>
              <a:buNone/>
              <a:defRPr lang="en-US" sz="1632"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28">
                <a:solidFill>
                  <a:schemeClr val="accent1"/>
                </a:solidFill>
                <a:latin typeface="+mn-lt"/>
              </a:defRPr>
            </a:lvl2pPr>
          </a:lstStyle>
          <a:p>
            <a:pPr lvl="0" fontAlgn="base">
              <a:spcBef>
                <a:spcPts val="612"/>
              </a:spcBef>
              <a:spcAft>
                <a:spcPct val="0"/>
              </a:spcAft>
            </a:pPr>
            <a:r>
              <a:rPr lang="en-US" dirty="0"/>
              <a:t>Click to edit Master text styles</a:t>
            </a:r>
          </a:p>
          <a:p>
            <a:pPr lvl="1" fontAlgn="base">
              <a:spcBef>
                <a:spcPts val="612"/>
              </a:spcBef>
              <a:spcAft>
                <a:spcPct val="0"/>
              </a:spcAft>
            </a:pPr>
            <a:r>
              <a:rPr lang="en-US" dirty="0"/>
              <a:t>VNVN</a:t>
            </a:r>
          </a:p>
        </p:txBody>
      </p:sp>
      <p:sp>
        <p:nvSpPr>
          <p:cNvPr id="12" name="Text Placeholder 8"/>
          <p:cNvSpPr>
            <a:spLocks noGrp="1"/>
          </p:cNvSpPr>
          <p:nvPr>
            <p:ph type="body" sz="quarter" idx="12"/>
          </p:nvPr>
        </p:nvSpPr>
        <p:spPr>
          <a:xfrm>
            <a:off x="5876558" y="1504811"/>
            <a:ext cx="6342926" cy="230524"/>
          </a:xfrm>
        </p:spPr>
        <p:txBody>
          <a:bodyPr vert="horz" wrap="square" lIns="146304" tIns="0" rIns="0" bIns="0" rtlCol="0" anchor="t" anchorCtr="0">
            <a:spAutoFit/>
          </a:bodyPr>
          <a:lstStyle>
            <a:lvl1pPr marL="0" indent="0">
              <a:spcBef>
                <a:spcPts val="0"/>
              </a:spcBef>
              <a:buNone/>
              <a:defRPr lang="en-US" sz="1632"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12"/>
              </a:spcBef>
              <a:spcAft>
                <a:spcPct val="0"/>
              </a:spcAft>
            </a:pPr>
            <a:r>
              <a:rPr lang="en-US" dirty="0"/>
              <a:t>Click to edit Master text styles</a:t>
            </a:r>
          </a:p>
        </p:txBody>
      </p:sp>
    </p:spTree>
    <p:extLst>
      <p:ext uri="{BB962C8B-B14F-4D97-AF65-F5344CB8AC3E}">
        <p14:creationId xmlns:p14="http://schemas.microsoft.com/office/powerpoint/2010/main" val="1308642036"/>
      </p:ext>
    </p:extLst>
  </p:cSld>
  <p:clrMapOvr>
    <a:masterClrMapping/>
  </p:clrMapOvr>
  <p:transition>
    <p:fade/>
  </p:transition>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646608"/>
            <a:ext cx="12436475" cy="3347917"/>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122"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41529" y="1832622"/>
            <a:ext cx="10594946" cy="1772472"/>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199" y="1832622"/>
            <a:ext cx="1825130" cy="1772471"/>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856"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44510" y="2522280"/>
            <a:ext cx="1728527" cy="437100"/>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50065" y="2218573"/>
            <a:ext cx="1172397" cy="1120636"/>
          </a:xfrm>
        </p:spPr>
        <p:txBody>
          <a:bodyPr/>
          <a:lstStyle>
            <a:lvl1pPr marL="0" indent="0" algn="ctr">
              <a:buNone/>
              <a:defRPr sz="6731"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77807" y="1992562"/>
            <a:ext cx="9704027" cy="452021"/>
          </a:xfrm>
        </p:spPr>
        <p:txBody>
          <a:bodyPr lIns="0" tIns="0" rIns="0" bIns="0" anchor="ctr"/>
          <a:lstStyle>
            <a:lvl1pPr marL="0" indent="0">
              <a:buNone/>
              <a:defRPr sz="3264">
                <a:solidFill>
                  <a:schemeClr val="bg1"/>
                </a:solidFill>
              </a:defRPr>
            </a:lvl1pPr>
            <a:lvl2pPr marL="342769" indent="0">
              <a:buNone/>
              <a:defRPr/>
            </a:lvl2pPr>
            <a:lvl3pPr marL="571280" indent="0">
              <a:buNone/>
              <a:defRPr/>
            </a:lvl3pPr>
            <a:lvl4pPr marL="799792" indent="0">
              <a:buNone/>
              <a:defRPr/>
            </a:lvl4pPr>
            <a:lvl5pPr marL="1028304" indent="0">
              <a:buNone/>
              <a:defRPr/>
            </a:lvl5pPr>
          </a:lstStyle>
          <a:p>
            <a:pPr lvl="0"/>
            <a:r>
              <a:rPr lang="en-US" dirty="0"/>
              <a:t>Edit Master text styles</a:t>
            </a:r>
          </a:p>
        </p:txBody>
      </p:sp>
      <p:sp>
        <p:nvSpPr>
          <p:cNvPr id="68" name="Text Placeholder 66"/>
          <p:cNvSpPr>
            <a:spLocks noGrp="1"/>
          </p:cNvSpPr>
          <p:nvPr>
            <p:ph type="body" sz="quarter" idx="12"/>
          </p:nvPr>
        </p:nvSpPr>
        <p:spPr>
          <a:xfrm>
            <a:off x="1977807" y="2580552"/>
            <a:ext cx="9704027" cy="282513"/>
          </a:xfrm>
        </p:spPr>
        <p:txBody>
          <a:bodyPr lIns="0" tIns="0" rIns="0" bIns="0" anchor="t" anchorCtr="0"/>
          <a:lstStyle>
            <a:lvl1pPr marL="0" indent="0">
              <a:buNone/>
              <a:defRPr sz="2040">
                <a:solidFill>
                  <a:schemeClr val="bg1"/>
                </a:solidFill>
                <a:latin typeface="+mn-lt"/>
              </a:defRPr>
            </a:lvl1pPr>
            <a:lvl2pPr marL="342769" indent="0">
              <a:buNone/>
              <a:defRPr/>
            </a:lvl2pPr>
            <a:lvl3pPr marL="571280" indent="0">
              <a:buNone/>
              <a:defRPr/>
            </a:lvl3pPr>
            <a:lvl4pPr marL="799792" indent="0">
              <a:buNone/>
              <a:defRPr/>
            </a:lvl4pPr>
            <a:lvl5pPr marL="1028304"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154800393"/>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10903078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80145" y="3577471"/>
            <a:ext cx="4663678" cy="911433"/>
          </a:xfrm>
        </p:spPr>
        <p:txBody>
          <a:bodyPr vert="horz" wrap="square" lIns="146304" tIns="91440" rIns="146304" bIns="91440" rtlCol="0" anchor="ctr">
            <a:spAutoFit/>
          </a:bodyPr>
          <a:lstStyle>
            <a:lvl1pPr marL="466298" indent="-466298">
              <a:spcBef>
                <a:spcPts val="2448"/>
              </a:spcBef>
              <a:buClr>
                <a:srgbClr val="B4A0FF"/>
              </a:buClr>
              <a:buFont typeface="Webdings" panose="05030102010509060703" pitchFamily="18" charset="2"/>
              <a:buChar char="4"/>
              <a:defRPr lang="en-US" sz="2913" kern="1200" spc="0" baseline="0" dirty="0" smtClean="0">
                <a:solidFill>
                  <a:schemeClr val="tx1"/>
                </a:solidFill>
                <a:latin typeface="Segoe UI Light"/>
                <a:ea typeface="+mn-ea"/>
                <a:cs typeface="+mn-cs"/>
              </a:defRPr>
            </a:lvl1pPr>
            <a:lvl2pPr marL="699447" indent="0">
              <a:defRPr lang="en-US" sz="1836" smtClean="0">
                <a:solidFill>
                  <a:schemeClr val="tx1"/>
                </a:solidFill>
              </a:defRPr>
            </a:lvl2pPr>
            <a:lvl3pPr>
              <a:defRPr lang="en-US" sz="2913" smtClean="0">
                <a:solidFill>
                  <a:prstClr val="white"/>
                </a:solidFill>
                <a:latin typeface="Segoe UI Light"/>
              </a:defRPr>
            </a:lvl3pPr>
            <a:lvl4pPr>
              <a:defRPr lang="en-US" sz="1428" smtClean="0">
                <a:solidFill>
                  <a:schemeClr val="bg1">
                    <a:lumMod val="85000"/>
                  </a:schemeClr>
                </a:solidFill>
              </a:defRPr>
            </a:lvl4pPr>
            <a:lvl5pPr>
              <a:defRPr lang="en-US" sz="1428">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80146" y="1073466"/>
            <a:ext cx="11939339" cy="591774"/>
          </a:xfrm>
        </p:spPr>
        <p:txBody>
          <a:bodyPr vert="horz" wrap="square" lIns="146304" tIns="91440" rIns="146304" bIns="91440" rtlCol="0">
            <a:spAutoFit/>
          </a:bodyPr>
          <a:lstStyle>
            <a:lvl1pPr>
              <a:defRPr lang="en-US" sz="2856"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219995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80145" y="3096137"/>
            <a:ext cx="4663678" cy="911433"/>
          </a:xfrm>
        </p:spPr>
        <p:txBody>
          <a:bodyPr vert="horz" wrap="square" lIns="146304" tIns="91440" rIns="146304" bIns="91440" rtlCol="0" anchor="ctr">
            <a:spAutoFit/>
          </a:bodyPr>
          <a:lstStyle>
            <a:lvl1pPr marL="466298" indent="-466298">
              <a:spcBef>
                <a:spcPts val="2448"/>
              </a:spcBef>
              <a:buClr>
                <a:srgbClr val="B4A0FF"/>
              </a:buClr>
              <a:buFont typeface="Webdings" panose="05030102010509060703" pitchFamily="18" charset="2"/>
              <a:buChar char="4"/>
              <a:defRPr lang="en-US" sz="2913" kern="1200" spc="0" baseline="0" dirty="0" smtClean="0">
                <a:solidFill>
                  <a:prstClr val="white"/>
                </a:solidFill>
                <a:latin typeface="Segoe UI Light"/>
                <a:ea typeface="+mn-ea"/>
                <a:cs typeface="+mn-cs"/>
              </a:defRPr>
            </a:lvl1pPr>
            <a:lvl2pPr marL="699447" indent="0">
              <a:defRPr lang="en-US" sz="1836" smtClean="0">
                <a:solidFill>
                  <a:schemeClr val="bg1">
                    <a:lumMod val="85000"/>
                  </a:schemeClr>
                </a:solidFill>
              </a:defRPr>
            </a:lvl2pPr>
            <a:lvl3pPr>
              <a:defRPr lang="en-US" sz="2913" smtClean="0">
                <a:solidFill>
                  <a:prstClr val="white"/>
                </a:solidFill>
                <a:latin typeface="Segoe UI Light"/>
              </a:defRPr>
            </a:lvl3pPr>
            <a:lvl4pPr>
              <a:defRPr lang="en-US" sz="1428" smtClean="0">
                <a:solidFill>
                  <a:schemeClr val="bg1">
                    <a:lumMod val="85000"/>
                  </a:schemeClr>
                </a:solidFill>
              </a:defRPr>
            </a:lvl4pPr>
            <a:lvl5pPr>
              <a:defRPr lang="en-US" sz="1428">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221613965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66367" y="1792347"/>
            <a:ext cx="5763944" cy="2007480"/>
          </a:xfrm>
        </p:spPr>
        <p:txBody>
          <a:bodyPr/>
          <a:lstStyle>
            <a:lvl1pPr marL="0" indent="0">
              <a:spcBef>
                <a:spcPts val="2448"/>
              </a:spcBef>
              <a:buNone/>
              <a:defRPr>
                <a:solidFill>
                  <a:schemeClr val="tx1"/>
                </a:solidFill>
              </a:defRPr>
            </a:lvl1pPr>
            <a:lvl2pPr marL="0" indent="0">
              <a:buClr>
                <a:schemeClr val="accent5"/>
              </a:buClr>
              <a:buFont typeface="Segoe UI" panose="020B0502040204020203" pitchFamily="34" charset="0"/>
              <a:buNone/>
              <a:defRPr sz="2040">
                <a:solidFill>
                  <a:schemeClr val="tx1"/>
                </a:solidFill>
              </a:defRPr>
            </a:lvl2pPr>
            <a:lvl3pPr marL="0" indent="0">
              <a:buNone/>
              <a:defRPr sz="1836">
                <a:solidFill>
                  <a:schemeClr val="tx1"/>
                </a:solidFill>
              </a:defRPr>
            </a:lvl3pPr>
            <a:lvl4pPr marL="0" indent="0">
              <a:buNone/>
              <a:defRPr sz="1632">
                <a:solidFill>
                  <a:schemeClr val="tx1"/>
                </a:solidFill>
              </a:defRPr>
            </a:lvl4pPr>
            <a:lvl5pPr marL="0" indent="0">
              <a:buNone/>
              <a:defRPr sz="1632">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522448" y="1792347"/>
            <a:ext cx="5641755" cy="2052407"/>
          </a:xfrm>
        </p:spPr>
        <p:txBody>
          <a:bodyPr/>
          <a:lstStyle>
            <a:lvl1pPr marL="0" indent="0">
              <a:spcBef>
                <a:spcPts val="2448"/>
              </a:spcBef>
              <a:buFont typeface="Arial" panose="020B0604020202020204" pitchFamily="34" charset="0"/>
              <a:buNone/>
              <a:defRPr lang="en-US" sz="3998"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40" kern="1200" spc="0" baseline="0" dirty="0" smtClean="0">
                <a:solidFill>
                  <a:schemeClr val="tx1"/>
                </a:solidFill>
                <a:latin typeface="+mn-lt"/>
                <a:ea typeface="+mn-ea"/>
                <a:cs typeface="+mn-cs"/>
              </a:defRPr>
            </a:lvl2pPr>
            <a:lvl3pPr marL="0" indent="0">
              <a:buNone/>
              <a:defRPr sz="1836">
                <a:solidFill>
                  <a:schemeClr val="tx1"/>
                </a:solidFill>
              </a:defRPr>
            </a:lvl3pPr>
            <a:lvl4pPr marL="0" indent="0">
              <a:buNone/>
              <a:defRPr sz="1632">
                <a:solidFill>
                  <a:schemeClr val="tx1"/>
                </a:solidFill>
              </a:defRPr>
            </a:lvl4pPr>
            <a:lvl5pPr marL="0" indent="0">
              <a:buNone/>
              <a:defRPr sz="1632">
                <a:solidFill>
                  <a:schemeClr val="tx1"/>
                </a:solidFill>
              </a:defRPr>
            </a:lvl5pPr>
          </a:lstStyle>
          <a:p>
            <a:pPr marL="582873" marR="0" lvl="0" indent="-582873" algn="l" defTabSz="932384" rtl="0" eaLnBrk="1" fontAlgn="auto" latinLnBrk="0" hangingPunct="1">
              <a:lnSpc>
                <a:spcPct val="90000"/>
              </a:lnSpc>
              <a:spcBef>
                <a:spcPts val="2448"/>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73764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248960" y="-1925157"/>
            <a:ext cx="1554559" cy="1554339"/>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10088877" y="-1910252"/>
            <a:ext cx="1554559" cy="1554339"/>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80146" y="1073466"/>
            <a:ext cx="11939339" cy="591774"/>
          </a:xfrm>
        </p:spPr>
        <p:txBody>
          <a:bodyPr vert="horz" wrap="square" lIns="146304" tIns="91440" rIns="146304" bIns="91440" rtlCol="0">
            <a:spAutoFit/>
          </a:bodyPr>
          <a:lstStyle>
            <a:lvl1pPr marL="0" indent="0">
              <a:buNone/>
              <a:defRPr lang="en-US" sz="2856" dirty="0" smtClean="0">
                <a:solidFill>
                  <a:srgbClr val="0070C0"/>
                </a:solidFill>
              </a:defRPr>
            </a:lvl1pPr>
          </a:lstStyle>
          <a:p>
            <a:pPr marL="342768" lvl="0" indent="-342768"/>
            <a:r>
              <a:rPr lang="en-US" dirty="0"/>
              <a:t>Click to edit Master text styles</a:t>
            </a:r>
          </a:p>
        </p:txBody>
      </p:sp>
    </p:spTree>
    <p:extLst>
      <p:ext uri="{BB962C8B-B14F-4D97-AF65-F5344CB8AC3E}">
        <p14:creationId xmlns:p14="http://schemas.microsoft.com/office/powerpoint/2010/main" val="210635988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585893"/>
            <a:ext cx="11887198" cy="215305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2"/>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3783491338"/>
      </p:ext>
    </p:extLst>
  </p:cSld>
  <p:clrMap bg1="dk1" tx1="lt1" bg2="dk2" tx2="lt2" accent1="accent1" accent2="accent2" accent3="accent3" accent4="accent4" accent5="accent5" accent6="accent6" hlink="hlink" folHlink="folHlink"/>
  <p:sldLayoutIdLst>
    <p:sldLayoutId id="2147484859" r:id="rId1"/>
    <p:sldLayoutId id="2147484860" r:id="rId2"/>
    <p:sldLayoutId id="2147484861" r:id="rId3"/>
    <p:sldLayoutId id="2147484862" r:id="rId4"/>
    <p:sldLayoutId id="2147484863" r:id="rId5"/>
    <p:sldLayoutId id="2147484864" r:id="rId6"/>
    <p:sldLayoutId id="2147484865" r:id="rId7"/>
    <p:sldLayoutId id="2147484866" r:id="rId8"/>
    <p:sldLayoutId id="2147484867" r:id="rId9"/>
    <p:sldLayoutId id="2147484868" r:id="rId10"/>
    <p:sldLayoutId id="2147484869" r:id="rId11"/>
    <p:sldLayoutId id="2147484870" r:id="rId12"/>
    <p:sldLayoutId id="2147484871" r:id="rId13"/>
    <p:sldLayoutId id="2147484872" r:id="rId14"/>
    <p:sldLayoutId id="2147484873" r:id="rId15"/>
    <p:sldLayoutId id="2147484874" r:id="rId16"/>
    <p:sldLayoutId id="2147484875" r:id="rId17"/>
    <p:sldLayoutId id="2147484876" r:id="rId18"/>
    <p:sldLayoutId id="2147484877" r:id="rId19"/>
    <p:sldLayoutId id="2147484878" r:id="rId20"/>
    <p:sldLayoutId id="2147484879" r:id="rId21"/>
    <p:sldLayoutId id="2147484880" r:id="rId22"/>
    <p:sldLayoutId id="2147484881" r:id="rId23"/>
    <p:sldLayoutId id="2147484882" r:id="rId24"/>
    <p:sldLayoutId id="2147484884" r:id="rId25"/>
    <p:sldLayoutId id="2147484885" r:id="rId26"/>
    <p:sldLayoutId id="2147484886" r:id="rId27"/>
    <p:sldLayoutId id="2147484888" r:id="rId28"/>
    <p:sldLayoutId id="2147484889" r:id="rId29"/>
    <p:sldLayoutId id="2147484890" r:id="rId30"/>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ts val="1836"/>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ts val="372"/>
        </a:spcBef>
        <a:spcAft>
          <a:spcPts val="612"/>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5.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slideLayout" Target="../slideLayouts/slideLayout5.xml"/><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tags" Target="../tags/tag27.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tags" Target="../tags/tag26.xml"/><Relationship Id="rId5" Type="http://schemas.openxmlformats.org/officeDocument/2006/relationships/tags" Target="../tags/tag20.xml"/><Relationship Id="rId10" Type="http://schemas.openxmlformats.org/officeDocument/2006/relationships/tags" Target="../tags/tag25.xml"/><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emf"/><Relationship Id="rId18" Type="http://schemas.openxmlformats.org/officeDocument/2006/relationships/image" Target="../media/image36.png"/><Relationship Id="rId3" Type="http://schemas.openxmlformats.org/officeDocument/2006/relationships/image" Target="../media/image21.png"/><Relationship Id="rId21" Type="http://schemas.openxmlformats.org/officeDocument/2006/relationships/image" Target="../media/image38.png"/><Relationship Id="rId7" Type="http://schemas.openxmlformats.org/officeDocument/2006/relationships/image" Target="../media/image25.png"/><Relationship Id="rId12" Type="http://schemas.openxmlformats.org/officeDocument/2006/relationships/image" Target="../media/image30.png"/><Relationship Id="rId17" Type="http://schemas.openxmlformats.org/officeDocument/2006/relationships/image" Target="../media/image35.png"/><Relationship Id="rId2" Type="http://schemas.openxmlformats.org/officeDocument/2006/relationships/notesSlide" Target="../notesSlides/notesSlide20.xml"/><Relationship Id="rId16" Type="http://schemas.openxmlformats.org/officeDocument/2006/relationships/image" Target="../media/image34.png"/><Relationship Id="rId20" Type="http://schemas.openxmlformats.org/officeDocument/2006/relationships/image" Target="../media/image37.png"/><Relationship Id="rId1" Type="http://schemas.openxmlformats.org/officeDocument/2006/relationships/slideLayout" Target="../slideLayouts/slideLayout8.x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23.png"/><Relationship Id="rId15" Type="http://schemas.openxmlformats.org/officeDocument/2006/relationships/image" Target="../media/image33.png"/><Relationship Id="rId10" Type="http://schemas.openxmlformats.org/officeDocument/2006/relationships/image" Target="../media/image28.emf"/><Relationship Id="rId19" Type="http://schemas.openxmlformats.org/officeDocument/2006/relationships/image" Target="../media/image7.png"/><Relationship Id="rId4" Type="http://schemas.openxmlformats.org/officeDocument/2006/relationships/image" Target="../media/image22.png"/><Relationship Id="rId9" Type="http://schemas.openxmlformats.org/officeDocument/2006/relationships/image" Target="../media/image27.emf"/><Relationship Id="rId14" Type="http://schemas.openxmlformats.org/officeDocument/2006/relationships/image" Target="../media/image32.emf"/><Relationship Id="rId22" Type="http://schemas.openxmlformats.org/officeDocument/2006/relationships/image" Target="../media/image39.png"/></Relationships>
</file>

<file path=ppt/slides/_rels/slide21.xml.rels><?xml version="1.0" encoding="UTF-8" standalone="yes"?>
<Relationships xmlns="http://schemas.openxmlformats.org/package/2006/relationships"><Relationship Id="rId8" Type="http://schemas.openxmlformats.org/officeDocument/2006/relationships/notesSlide" Target="../notesSlides/notesSlide21.xml"/><Relationship Id="rId3" Type="http://schemas.openxmlformats.org/officeDocument/2006/relationships/tags" Target="../tags/tag30.xml"/><Relationship Id="rId7" Type="http://schemas.openxmlformats.org/officeDocument/2006/relationships/slideLayout" Target="../slideLayouts/slideLayout1.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5" Type="http://schemas.openxmlformats.org/officeDocument/2006/relationships/tags" Target="../tags/tag32.xml"/><Relationship Id="rId4" Type="http://schemas.openxmlformats.org/officeDocument/2006/relationships/tags" Target="../tags/tag31.xml"/></Relationships>
</file>

<file path=ppt/slides/_rels/slide22.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41.emf"/></Relationships>
</file>

<file path=ppt/slides/_rels/slide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3.xml"/><Relationship Id="rId1" Type="http://schemas.openxmlformats.org/officeDocument/2006/relationships/slideLayout" Target="../slideLayouts/slideLayout25.xml"/><Relationship Id="rId4" Type="http://schemas.openxmlformats.org/officeDocument/2006/relationships/image" Target="../media/image5.png"/></Relationships>
</file>

<file path=ppt/slides/_rels/slide2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5.xml"/><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13" Type="http://schemas.openxmlformats.org/officeDocument/2006/relationships/image" Target="../media/image54.png"/><Relationship Id="rId18" Type="http://schemas.openxmlformats.org/officeDocument/2006/relationships/image" Target="../media/image59.png"/><Relationship Id="rId26" Type="http://schemas.openxmlformats.org/officeDocument/2006/relationships/image" Target="../media/image67.png"/><Relationship Id="rId39" Type="http://schemas.openxmlformats.org/officeDocument/2006/relationships/image" Target="../media/image79.png"/><Relationship Id="rId21" Type="http://schemas.openxmlformats.org/officeDocument/2006/relationships/image" Target="../media/image62.png"/><Relationship Id="rId34" Type="http://schemas.openxmlformats.org/officeDocument/2006/relationships/image" Target="../media/image74.png"/><Relationship Id="rId42" Type="http://schemas.openxmlformats.org/officeDocument/2006/relationships/image" Target="../media/image82.png"/><Relationship Id="rId47" Type="http://schemas.openxmlformats.org/officeDocument/2006/relationships/image" Target="../media/image86.png"/><Relationship Id="rId50" Type="http://schemas.openxmlformats.org/officeDocument/2006/relationships/image" Target="../media/image89.png"/><Relationship Id="rId55" Type="http://schemas.openxmlformats.org/officeDocument/2006/relationships/image" Target="../media/image94.png"/><Relationship Id="rId63" Type="http://schemas.openxmlformats.org/officeDocument/2006/relationships/image" Target="../media/image101.png"/><Relationship Id="rId68" Type="http://schemas.openxmlformats.org/officeDocument/2006/relationships/image" Target="../media/image105.png"/><Relationship Id="rId7" Type="http://schemas.openxmlformats.org/officeDocument/2006/relationships/image" Target="../media/image48.png"/><Relationship Id="rId2" Type="http://schemas.openxmlformats.org/officeDocument/2006/relationships/image" Target="../media/image15.png"/><Relationship Id="rId16" Type="http://schemas.openxmlformats.org/officeDocument/2006/relationships/image" Target="../media/image57.png"/><Relationship Id="rId29" Type="http://schemas.openxmlformats.org/officeDocument/2006/relationships/image" Target="../media/image70.png"/><Relationship Id="rId1" Type="http://schemas.openxmlformats.org/officeDocument/2006/relationships/slideLayout" Target="../slideLayouts/slideLayout20.xml"/><Relationship Id="rId6" Type="http://schemas.openxmlformats.org/officeDocument/2006/relationships/image" Target="../media/image47.png"/><Relationship Id="rId11" Type="http://schemas.openxmlformats.org/officeDocument/2006/relationships/image" Target="../media/image52.png"/><Relationship Id="rId24" Type="http://schemas.openxmlformats.org/officeDocument/2006/relationships/image" Target="../media/image65.png"/><Relationship Id="rId32" Type="http://schemas.openxmlformats.org/officeDocument/2006/relationships/image" Target="../media/image14.png"/><Relationship Id="rId37" Type="http://schemas.openxmlformats.org/officeDocument/2006/relationships/image" Target="../media/image77.png"/><Relationship Id="rId40" Type="http://schemas.openxmlformats.org/officeDocument/2006/relationships/image" Target="../media/image80.png"/><Relationship Id="rId45" Type="http://schemas.openxmlformats.org/officeDocument/2006/relationships/image" Target="../media/image85.png"/><Relationship Id="rId53" Type="http://schemas.openxmlformats.org/officeDocument/2006/relationships/image" Target="../media/image92.png"/><Relationship Id="rId58" Type="http://schemas.openxmlformats.org/officeDocument/2006/relationships/image" Target="../media/image97.png"/><Relationship Id="rId66" Type="http://schemas.openxmlformats.org/officeDocument/2006/relationships/image" Target="../media/image104.png"/><Relationship Id="rId5" Type="http://schemas.openxmlformats.org/officeDocument/2006/relationships/image" Target="../media/image46.png"/><Relationship Id="rId15" Type="http://schemas.openxmlformats.org/officeDocument/2006/relationships/image" Target="../media/image56.png"/><Relationship Id="rId23" Type="http://schemas.openxmlformats.org/officeDocument/2006/relationships/image" Target="../media/image64.png"/><Relationship Id="rId28" Type="http://schemas.openxmlformats.org/officeDocument/2006/relationships/image" Target="../media/image69.png"/><Relationship Id="rId36" Type="http://schemas.openxmlformats.org/officeDocument/2006/relationships/image" Target="../media/image76.png"/><Relationship Id="rId49" Type="http://schemas.openxmlformats.org/officeDocument/2006/relationships/image" Target="../media/image88.png"/><Relationship Id="rId57" Type="http://schemas.openxmlformats.org/officeDocument/2006/relationships/image" Target="../media/image96.png"/><Relationship Id="rId61" Type="http://schemas.openxmlformats.org/officeDocument/2006/relationships/image" Target="../media/image100.png"/><Relationship Id="rId10" Type="http://schemas.openxmlformats.org/officeDocument/2006/relationships/image" Target="../media/image51.png"/><Relationship Id="rId19" Type="http://schemas.openxmlformats.org/officeDocument/2006/relationships/image" Target="../media/image60.png"/><Relationship Id="rId31" Type="http://schemas.openxmlformats.org/officeDocument/2006/relationships/image" Target="../media/image72.png"/><Relationship Id="rId44" Type="http://schemas.openxmlformats.org/officeDocument/2006/relationships/image" Target="../media/image84.png"/><Relationship Id="rId52" Type="http://schemas.openxmlformats.org/officeDocument/2006/relationships/image" Target="../media/image91.png"/><Relationship Id="rId60" Type="http://schemas.openxmlformats.org/officeDocument/2006/relationships/image" Target="../media/image99.png"/><Relationship Id="rId65" Type="http://schemas.openxmlformats.org/officeDocument/2006/relationships/image" Target="../media/image103.png"/><Relationship Id="rId4" Type="http://schemas.openxmlformats.org/officeDocument/2006/relationships/image" Target="../media/image45.png"/><Relationship Id="rId9" Type="http://schemas.openxmlformats.org/officeDocument/2006/relationships/image" Target="../media/image50.png"/><Relationship Id="rId14" Type="http://schemas.openxmlformats.org/officeDocument/2006/relationships/image" Target="../media/image55.png"/><Relationship Id="rId22" Type="http://schemas.openxmlformats.org/officeDocument/2006/relationships/image" Target="../media/image63.png"/><Relationship Id="rId27" Type="http://schemas.openxmlformats.org/officeDocument/2006/relationships/image" Target="../media/image68.png"/><Relationship Id="rId30" Type="http://schemas.openxmlformats.org/officeDocument/2006/relationships/image" Target="../media/image71.png"/><Relationship Id="rId35" Type="http://schemas.openxmlformats.org/officeDocument/2006/relationships/image" Target="../media/image75.png"/><Relationship Id="rId43" Type="http://schemas.openxmlformats.org/officeDocument/2006/relationships/image" Target="../media/image83.png"/><Relationship Id="rId48" Type="http://schemas.openxmlformats.org/officeDocument/2006/relationships/image" Target="../media/image87.png"/><Relationship Id="rId56" Type="http://schemas.openxmlformats.org/officeDocument/2006/relationships/image" Target="../media/image95.png"/><Relationship Id="rId64" Type="http://schemas.openxmlformats.org/officeDocument/2006/relationships/image" Target="../media/image102.png"/><Relationship Id="rId69" Type="http://schemas.openxmlformats.org/officeDocument/2006/relationships/image" Target="../media/image8.png"/><Relationship Id="rId8" Type="http://schemas.openxmlformats.org/officeDocument/2006/relationships/image" Target="../media/image49.png"/><Relationship Id="rId51" Type="http://schemas.openxmlformats.org/officeDocument/2006/relationships/image" Target="../media/image90.png"/><Relationship Id="rId3" Type="http://schemas.openxmlformats.org/officeDocument/2006/relationships/image" Target="../media/image44.png"/><Relationship Id="rId12" Type="http://schemas.openxmlformats.org/officeDocument/2006/relationships/image" Target="../media/image53.png"/><Relationship Id="rId17" Type="http://schemas.openxmlformats.org/officeDocument/2006/relationships/image" Target="../media/image58.png"/><Relationship Id="rId25" Type="http://schemas.openxmlformats.org/officeDocument/2006/relationships/image" Target="../media/image66.png"/><Relationship Id="rId33" Type="http://schemas.openxmlformats.org/officeDocument/2006/relationships/image" Target="../media/image73.png"/><Relationship Id="rId38" Type="http://schemas.openxmlformats.org/officeDocument/2006/relationships/image" Target="../media/image78.png"/><Relationship Id="rId46" Type="http://schemas.openxmlformats.org/officeDocument/2006/relationships/image" Target="../media/image12.png"/><Relationship Id="rId59" Type="http://schemas.openxmlformats.org/officeDocument/2006/relationships/image" Target="../media/image98.png"/><Relationship Id="rId67" Type="http://schemas.openxmlformats.org/officeDocument/2006/relationships/image" Target="../media/image13.png"/><Relationship Id="rId20" Type="http://schemas.openxmlformats.org/officeDocument/2006/relationships/image" Target="../media/image61.png"/><Relationship Id="rId41" Type="http://schemas.openxmlformats.org/officeDocument/2006/relationships/image" Target="../media/image81.png"/><Relationship Id="rId54" Type="http://schemas.openxmlformats.org/officeDocument/2006/relationships/image" Target="../media/image93.png"/><Relationship Id="rId62" Type="http://schemas.openxmlformats.org/officeDocument/2006/relationships/image" Target="../media/image10.png"/><Relationship Id="rId70" Type="http://schemas.openxmlformats.org/officeDocument/2006/relationships/image" Target="../media/image11.png"/></Relationships>
</file>

<file path=ppt/slides/_rels/slide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3.png"/><Relationship Id="rId1" Type="http://schemas.openxmlformats.org/officeDocument/2006/relationships/slideLayout" Target="../slideLayouts/slideLayout20.xml"/><Relationship Id="rId5" Type="http://schemas.openxmlformats.org/officeDocument/2006/relationships/image" Target="../media/image13.png"/><Relationship Id="rId4" Type="http://schemas.openxmlformats.org/officeDocument/2006/relationships/image" Target="../media/image93.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5.xml"/><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6.xml"/><Relationship Id="rId3" Type="http://schemas.openxmlformats.org/officeDocument/2006/relationships/tags" Target="../tags/tag12.xml"/><Relationship Id="rId7" Type="http://schemas.openxmlformats.org/officeDocument/2006/relationships/slideLayout" Target="../slideLayouts/slideLayout5.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25.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 y="-1059209"/>
            <a:ext cx="12434711" cy="8283430"/>
          </a:xfrm>
          <a:prstGeom prst="rect">
            <a:avLst/>
          </a:prstGeom>
        </p:spPr>
      </p:pic>
      <p:sp>
        <p:nvSpPr>
          <p:cNvPr id="5" name="Rectangle 4"/>
          <p:cNvSpPr/>
          <p:nvPr/>
        </p:nvSpPr>
        <p:spPr>
          <a:xfrm>
            <a:off x="458019" y="2943811"/>
            <a:ext cx="6948926" cy="1102085"/>
          </a:xfrm>
          <a:prstGeom prst="rect">
            <a:avLst/>
          </a:prstGeom>
          <a:solidFill>
            <a:schemeClr val="bg2">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86521" rIns="186521" bIns="186521" rtlCol="0" anchor="t"/>
          <a:lstStyle/>
          <a:p>
            <a:r>
              <a:rPr lang="en-US" sz="4400" dirty="0">
                <a:solidFill>
                  <a:srgbClr val="FFFFFF"/>
                </a:solidFill>
                <a:latin typeface="+mj-lt"/>
              </a:rPr>
              <a:t>Overview of Azure IoT Suite</a:t>
            </a:r>
          </a:p>
          <a:p>
            <a:endParaRPr lang="en-US" sz="4400" dirty="0">
              <a:solidFill>
                <a:srgbClr val="FFFFFF"/>
              </a:solidFill>
              <a:latin typeface="+mj-lt"/>
              <a:cs typeface="Segoe UI Light" panose="020B0502040204020203" pitchFamily="34" charset="0"/>
            </a:endParaRPr>
          </a:p>
        </p:txBody>
      </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ltGray">
          <a:xfrm>
            <a:off x="458018" y="477661"/>
            <a:ext cx="1552711" cy="332660"/>
          </a:xfrm>
          <a:prstGeom prst="rect">
            <a:avLst/>
          </a:prstGeom>
        </p:spPr>
      </p:pic>
    </p:spTree>
    <p:extLst>
      <p:ext uri="{BB962C8B-B14F-4D97-AF65-F5344CB8AC3E}">
        <p14:creationId xmlns:p14="http://schemas.microsoft.com/office/powerpoint/2010/main" val="41099491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27037" y="19395"/>
            <a:ext cx="11887200" cy="917575"/>
          </a:xfrm>
        </p:spPr>
        <p:txBody>
          <a:bodyPr/>
          <a:lstStyle/>
          <a:p>
            <a:r>
              <a:rPr lang="sv-SE" dirty="0"/>
              <a:t>Information Exchange Patterns</a:t>
            </a:r>
            <a:br>
              <a:rPr lang="sv-SE" dirty="0"/>
            </a:br>
            <a:r>
              <a:rPr lang="sv-SE" sz="4000" dirty="0">
                <a:solidFill>
                  <a:schemeClr val="tx2"/>
                </a:solidFill>
              </a:rPr>
              <a:t>Basics of IoT Communication</a:t>
            </a:r>
            <a:endParaRPr lang="en-IN" sz="4000" dirty="0">
              <a:solidFill>
                <a:schemeClr val="tx2"/>
              </a:solidFill>
            </a:endParaRPr>
          </a:p>
        </p:txBody>
      </p:sp>
      <p:grpSp>
        <p:nvGrpSpPr>
          <p:cNvPr id="10" name="Group 9">
            <a:extLst>
              <a:ext uri="{FF2B5EF4-FFF2-40B4-BE49-F238E27FC236}">
                <a16:creationId xmlns:a16="http://schemas.microsoft.com/office/drawing/2014/main" id="{D640C5BC-F69B-4C92-805F-F3396CCB485E}"/>
              </a:ext>
            </a:extLst>
          </p:cNvPr>
          <p:cNvGrpSpPr/>
          <p:nvPr/>
        </p:nvGrpSpPr>
        <p:grpSpPr>
          <a:xfrm>
            <a:off x="199155" y="1975428"/>
            <a:ext cx="3045531" cy="4439607"/>
            <a:chOff x="199155" y="1975428"/>
            <a:chExt cx="3045531" cy="4439607"/>
          </a:xfrm>
        </p:grpSpPr>
        <p:grpSp>
          <p:nvGrpSpPr>
            <p:cNvPr id="3" name="Group 2"/>
            <p:cNvGrpSpPr/>
            <p:nvPr/>
          </p:nvGrpSpPr>
          <p:grpSpPr>
            <a:xfrm>
              <a:off x="199155" y="4968721"/>
              <a:ext cx="3045531" cy="1446314"/>
              <a:chOff x="199155" y="4968721"/>
              <a:chExt cx="3045531" cy="1446314"/>
            </a:xfrm>
          </p:grpSpPr>
          <p:sp>
            <p:nvSpPr>
              <p:cNvPr id="31" name="TextBox 30"/>
              <p:cNvSpPr txBox="1"/>
              <p:nvPr/>
            </p:nvSpPr>
            <p:spPr>
              <a:xfrm>
                <a:off x="1213309" y="4968721"/>
                <a:ext cx="1073051" cy="544765"/>
              </a:xfrm>
              <a:prstGeom prst="rect">
                <a:avLst/>
              </a:prstGeom>
              <a:noFill/>
            </p:spPr>
            <p:txBody>
              <a:bodyPr wrap="none" lIns="182880" tIns="146304" rIns="182880" bIns="146304" rtlCol="0">
                <a:spAutoFit/>
              </a:bodyPr>
              <a:lstStyle/>
              <a:p>
                <a:pPr defTabSz="914400">
                  <a:lnSpc>
                    <a:spcPct val="90000"/>
                  </a:lnSpc>
                  <a:spcAft>
                    <a:spcPts val="600"/>
                  </a:spcAft>
                  <a:defRPr/>
                </a:pPr>
                <a:r>
                  <a:rPr lang="en-GB" b="1" kern="0" dirty="0">
                    <a:gradFill>
                      <a:gsLst>
                        <a:gs pos="2917">
                          <a:srgbClr val="FFFFFF"/>
                        </a:gs>
                        <a:gs pos="30000">
                          <a:srgbClr val="FFFFFF"/>
                        </a:gs>
                      </a:gsLst>
                      <a:lin ang="5400000" scaled="0"/>
                    </a:gradFill>
                  </a:rPr>
                  <a:t>Events</a:t>
                </a:r>
              </a:p>
            </p:txBody>
          </p:sp>
          <p:sp>
            <p:nvSpPr>
              <p:cNvPr id="32" name="TextBox 31"/>
              <p:cNvSpPr txBox="1"/>
              <p:nvPr/>
            </p:nvSpPr>
            <p:spPr>
              <a:xfrm>
                <a:off x="199155" y="5371672"/>
                <a:ext cx="3045531" cy="1043363"/>
              </a:xfrm>
              <a:prstGeom prst="rect">
                <a:avLst/>
              </a:prstGeom>
              <a:noFill/>
            </p:spPr>
            <p:txBody>
              <a:bodyPr wrap="square" lIns="182880" tIns="146304" rIns="182880" bIns="146304" rtlCol="0">
                <a:spAutoFit/>
              </a:bodyPr>
              <a:lstStyle/>
              <a:p>
                <a:pPr defTabSz="914400">
                  <a:lnSpc>
                    <a:spcPct val="90000"/>
                  </a:lnSpc>
                  <a:spcAft>
                    <a:spcPts val="600"/>
                  </a:spcAft>
                  <a:defRPr/>
                </a:pPr>
                <a:r>
                  <a:rPr lang="en-GB" kern="0" dirty="0">
                    <a:gradFill>
                      <a:gsLst>
                        <a:gs pos="2917">
                          <a:srgbClr val="FFFFFF"/>
                        </a:gs>
                        <a:gs pos="30000">
                          <a:srgbClr val="FFFFFF"/>
                        </a:gs>
                      </a:gsLst>
                      <a:lin ang="5400000" scaled="0"/>
                    </a:gradFill>
                  </a:rPr>
                  <a:t>Massive stream of information. Managed outside the </a:t>
                </a:r>
                <a:r>
                  <a:rPr lang="en-GB" kern="0" dirty="0" err="1">
                    <a:gradFill>
                      <a:gsLst>
                        <a:gs pos="2917">
                          <a:srgbClr val="FFFFFF"/>
                        </a:gs>
                        <a:gs pos="30000">
                          <a:srgbClr val="FFFFFF"/>
                        </a:gs>
                      </a:gsLst>
                      <a:lin ang="5400000" scaled="0"/>
                    </a:gradFill>
                  </a:rPr>
                  <a:t>IoT</a:t>
                </a:r>
                <a:r>
                  <a:rPr lang="en-GB" kern="0" dirty="0">
                    <a:gradFill>
                      <a:gsLst>
                        <a:gs pos="2917">
                          <a:srgbClr val="FFFFFF"/>
                        </a:gs>
                        <a:gs pos="30000">
                          <a:srgbClr val="FFFFFF"/>
                        </a:gs>
                      </a:gsLst>
                      <a:lin ang="5400000" scaled="0"/>
                    </a:gradFill>
                  </a:rPr>
                  <a:t> Hub</a:t>
                </a:r>
              </a:p>
            </p:txBody>
          </p:sp>
        </p:grpSp>
        <p:sp>
          <p:nvSpPr>
            <p:cNvPr id="54" name="Frame 5"/>
            <p:cNvSpPr>
              <a:spLocks noChangeAspect="1"/>
            </p:cNvSpPr>
            <p:nvPr/>
          </p:nvSpPr>
          <p:spPr bwMode="auto">
            <a:xfrm>
              <a:off x="1352574" y="1975428"/>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pic>
          <p:nvPicPr>
            <p:cNvPr id="58" name="Picture 57"/>
            <p:cNvPicPr>
              <a:picLocks noChangeAspect="1"/>
            </p:cNvPicPr>
            <p:nvPr/>
          </p:nvPicPr>
          <p:blipFill>
            <a:blip r:embed="rId3" cstate="screen">
              <a:biLevel thresh="25000"/>
              <a:extLst>
                <a:ext uri="{28A0092B-C50C-407E-A947-70E740481C1C}">
                  <a14:useLocalDpi xmlns:a14="http://schemas.microsoft.com/office/drawing/2010/main"/>
                </a:ext>
              </a:extLst>
            </a:blip>
            <a:stretch>
              <a:fillRect/>
            </a:stretch>
          </p:blipFill>
          <p:spPr>
            <a:xfrm rot="10800000">
              <a:off x="1312878" y="4245762"/>
              <a:ext cx="818085" cy="818085"/>
            </a:xfrm>
            <a:prstGeom prst="rect">
              <a:avLst/>
            </a:prstGeom>
          </p:spPr>
        </p:pic>
        <p:sp>
          <p:nvSpPr>
            <p:cNvPr id="9" name="Striped Right Arrow 8"/>
            <p:cNvSpPr/>
            <p:nvPr/>
          </p:nvSpPr>
          <p:spPr bwMode="auto">
            <a:xfrm rot="5400000">
              <a:off x="1045709" y="3249741"/>
              <a:ext cx="1352422"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grpSp>
      <p:grpSp>
        <p:nvGrpSpPr>
          <p:cNvPr id="11" name="Group 10">
            <a:extLst>
              <a:ext uri="{FF2B5EF4-FFF2-40B4-BE49-F238E27FC236}">
                <a16:creationId xmlns:a16="http://schemas.microsoft.com/office/drawing/2014/main" id="{881DF0A5-53C7-4DCA-AAFD-1A2F8AA2A9FA}"/>
              </a:ext>
            </a:extLst>
          </p:cNvPr>
          <p:cNvGrpSpPr/>
          <p:nvPr/>
        </p:nvGrpSpPr>
        <p:grpSpPr>
          <a:xfrm>
            <a:off x="3117576" y="1983152"/>
            <a:ext cx="3045531" cy="4439607"/>
            <a:chOff x="3117576" y="1983152"/>
            <a:chExt cx="3045531" cy="4439607"/>
          </a:xfrm>
        </p:grpSpPr>
        <p:grpSp>
          <p:nvGrpSpPr>
            <p:cNvPr id="6" name="Group 5"/>
            <p:cNvGrpSpPr/>
            <p:nvPr/>
          </p:nvGrpSpPr>
          <p:grpSpPr>
            <a:xfrm>
              <a:off x="3117576" y="4976445"/>
              <a:ext cx="3045531" cy="1446314"/>
              <a:chOff x="9268706" y="4968721"/>
              <a:chExt cx="3045531" cy="1446314"/>
            </a:xfrm>
          </p:grpSpPr>
          <p:sp>
            <p:nvSpPr>
              <p:cNvPr id="50" name="TextBox 49"/>
              <p:cNvSpPr txBox="1"/>
              <p:nvPr/>
            </p:nvSpPr>
            <p:spPr>
              <a:xfrm>
                <a:off x="10043128" y="4968721"/>
                <a:ext cx="1531510" cy="544765"/>
              </a:xfrm>
              <a:prstGeom prst="rect">
                <a:avLst/>
              </a:prstGeom>
              <a:noFill/>
            </p:spPr>
            <p:txBody>
              <a:bodyPr wrap="none" lIns="182880" tIns="146304" rIns="182880" bIns="146304" rtlCol="0">
                <a:spAutoFit/>
              </a:bodyPr>
              <a:lstStyle/>
              <a:p>
                <a:pPr defTabSz="914400">
                  <a:lnSpc>
                    <a:spcPct val="90000"/>
                  </a:lnSpc>
                  <a:spcAft>
                    <a:spcPts val="600"/>
                  </a:spcAft>
                  <a:defRPr/>
                </a:pPr>
                <a:r>
                  <a:rPr lang="en-GB" b="1" kern="0" dirty="0">
                    <a:gradFill>
                      <a:gsLst>
                        <a:gs pos="2917">
                          <a:srgbClr val="FFFFFF"/>
                        </a:gs>
                        <a:gs pos="30000">
                          <a:srgbClr val="FFFFFF"/>
                        </a:gs>
                      </a:gsLst>
                      <a:lin ang="5400000" scaled="0"/>
                    </a:gradFill>
                  </a:rPr>
                  <a:t>Messaging</a:t>
                </a:r>
              </a:p>
            </p:txBody>
          </p:sp>
          <p:sp>
            <p:nvSpPr>
              <p:cNvPr id="51" name="TextBox 50"/>
              <p:cNvSpPr txBox="1"/>
              <p:nvPr/>
            </p:nvSpPr>
            <p:spPr>
              <a:xfrm>
                <a:off x="9268706" y="5371672"/>
                <a:ext cx="3045531" cy="1043363"/>
              </a:xfrm>
              <a:prstGeom prst="rect">
                <a:avLst/>
              </a:prstGeom>
              <a:noFill/>
            </p:spPr>
            <p:txBody>
              <a:bodyPr wrap="square" lIns="182880" tIns="146304" rIns="182880" bIns="146304" rtlCol="0">
                <a:spAutoFit/>
              </a:bodyPr>
              <a:lstStyle/>
              <a:p>
                <a:pPr defTabSz="914400">
                  <a:lnSpc>
                    <a:spcPct val="90000"/>
                  </a:lnSpc>
                  <a:spcAft>
                    <a:spcPts val="600"/>
                  </a:spcAft>
                  <a:defRPr/>
                </a:pPr>
                <a:r>
                  <a:rPr lang="en-GB" kern="0" dirty="0">
                    <a:gradFill>
                      <a:gsLst>
                        <a:gs pos="2917">
                          <a:srgbClr val="FFFFFF"/>
                        </a:gs>
                        <a:gs pos="30000">
                          <a:srgbClr val="FFFFFF"/>
                        </a:gs>
                      </a:gsLst>
                      <a:lin ang="5400000" scaled="0"/>
                    </a:gradFill>
                  </a:rPr>
                  <a:t>C2D communication using a pub</a:t>
                </a:r>
                <a:r>
                  <a:rPr lang="sv-SE" kern="0" dirty="0">
                    <a:gradFill>
                      <a:gsLst>
                        <a:gs pos="2917">
                          <a:srgbClr val="FFFFFF"/>
                        </a:gs>
                        <a:gs pos="30000">
                          <a:srgbClr val="FFFFFF"/>
                        </a:gs>
                      </a:gsLst>
                      <a:lin ang="5400000" scaled="0"/>
                    </a:gradFill>
                  </a:rPr>
                  <a:t>/</a:t>
                </a:r>
                <a:r>
                  <a:rPr lang="sv-SE" kern="0" dirty="0" err="1">
                    <a:gradFill>
                      <a:gsLst>
                        <a:gs pos="2917">
                          <a:srgbClr val="FFFFFF"/>
                        </a:gs>
                        <a:gs pos="30000">
                          <a:srgbClr val="FFFFFF"/>
                        </a:gs>
                      </a:gsLst>
                      <a:lin ang="5400000" scaled="0"/>
                    </a:gradFill>
                  </a:rPr>
                  <a:t>sub</a:t>
                </a:r>
                <a:r>
                  <a:rPr lang="sv-SE" kern="0" dirty="0">
                    <a:gradFill>
                      <a:gsLst>
                        <a:gs pos="2917">
                          <a:srgbClr val="FFFFFF"/>
                        </a:gs>
                        <a:gs pos="30000">
                          <a:srgbClr val="FFFFFF"/>
                        </a:gs>
                      </a:gsLst>
                      <a:lin ang="5400000" scaled="0"/>
                    </a:gradFill>
                  </a:rPr>
                  <a:t> </a:t>
                </a:r>
                <a:r>
                  <a:rPr lang="sv-SE" kern="0" dirty="0" err="1">
                    <a:gradFill>
                      <a:gsLst>
                        <a:gs pos="2917">
                          <a:srgbClr val="FFFFFF"/>
                        </a:gs>
                        <a:gs pos="30000">
                          <a:srgbClr val="FFFFFF"/>
                        </a:gs>
                      </a:gsLst>
                      <a:lin ang="5400000" scaled="0"/>
                    </a:gradFill>
                  </a:rPr>
                  <a:t>pattern</a:t>
                </a:r>
                <a:r>
                  <a:rPr lang="sv-SE" kern="0" dirty="0">
                    <a:gradFill>
                      <a:gsLst>
                        <a:gs pos="2917">
                          <a:srgbClr val="FFFFFF"/>
                        </a:gs>
                        <a:gs pos="30000">
                          <a:srgbClr val="FFFFFF"/>
                        </a:gs>
                      </a:gsLst>
                      <a:lin ang="5400000" scaled="0"/>
                    </a:gradFill>
                  </a:rPr>
                  <a:t> </a:t>
                </a:r>
                <a:r>
                  <a:rPr lang="sv-SE" kern="0" dirty="0" err="1">
                    <a:gradFill>
                      <a:gsLst>
                        <a:gs pos="2917">
                          <a:srgbClr val="FFFFFF"/>
                        </a:gs>
                        <a:gs pos="30000">
                          <a:srgbClr val="FFFFFF"/>
                        </a:gs>
                      </a:gsLst>
                      <a:lin ang="5400000" scaled="0"/>
                    </a:gradFill>
                  </a:rPr>
                  <a:t>using</a:t>
                </a:r>
                <a:r>
                  <a:rPr lang="sv-SE" kern="0" dirty="0">
                    <a:gradFill>
                      <a:gsLst>
                        <a:gs pos="2917">
                          <a:srgbClr val="FFFFFF"/>
                        </a:gs>
                        <a:gs pos="30000">
                          <a:srgbClr val="FFFFFF"/>
                        </a:gs>
                      </a:gsLst>
                      <a:lin ang="5400000" scaled="0"/>
                    </a:gradFill>
                  </a:rPr>
                  <a:t> </a:t>
                </a:r>
                <a:r>
                  <a:rPr lang="sv-SE" kern="0" dirty="0" err="1">
                    <a:gradFill>
                      <a:gsLst>
                        <a:gs pos="2917">
                          <a:srgbClr val="FFFFFF"/>
                        </a:gs>
                        <a:gs pos="30000">
                          <a:srgbClr val="FFFFFF"/>
                        </a:gs>
                      </a:gsLst>
                      <a:lin ang="5400000" scaled="0"/>
                    </a:gradFill>
                  </a:rPr>
                  <a:t>topics</a:t>
                </a:r>
                <a:r>
                  <a:rPr lang="sv-SE" kern="0" dirty="0">
                    <a:gradFill>
                      <a:gsLst>
                        <a:gs pos="2917">
                          <a:srgbClr val="FFFFFF"/>
                        </a:gs>
                        <a:gs pos="30000">
                          <a:srgbClr val="FFFFFF"/>
                        </a:gs>
                      </a:gsLst>
                      <a:lin ang="5400000" scaled="0"/>
                    </a:gradFill>
                  </a:rPr>
                  <a:t> &amp; </a:t>
                </a:r>
                <a:r>
                  <a:rPr lang="sv-SE" kern="0" dirty="0" err="1">
                    <a:gradFill>
                      <a:gsLst>
                        <a:gs pos="2917">
                          <a:srgbClr val="FFFFFF"/>
                        </a:gs>
                        <a:gs pos="30000">
                          <a:srgbClr val="FFFFFF"/>
                        </a:gs>
                      </a:gsLst>
                      <a:lin ang="5400000" scaled="0"/>
                    </a:gradFill>
                  </a:rPr>
                  <a:t>subscriptions</a:t>
                </a:r>
                <a:endParaRPr lang="en-GB" kern="0" dirty="0">
                  <a:gradFill>
                    <a:gsLst>
                      <a:gs pos="2917">
                        <a:srgbClr val="FFFFFF"/>
                      </a:gs>
                      <a:gs pos="30000">
                        <a:srgbClr val="FFFFFF"/>
                      </a:gs>
                    </a:gsLst>
                    <a:lin ang="5400000" scaled="0"/>
                  </a:gradFill>
                </a:endParaRPr>
              </a:p>
            </p:txBody>
          </p:sp>
        </p:grpSp>
        <p:sp>
          <p:nvSpPr>
            <p:cNvPr id="57" name="Frame 5"/>
            <p:cNvSpPr>
              <a:spLocks noChangeAspect="1"/>
            </p:cNvSpPr>
            <p:nvPr/>
          </p:nvSpPr>
          <p:spPr bwMode="auto">
            <a:xfrm>
              <a:off x="4270995" y="1983152"/>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pic>
          <p:nvPicPr>
            <p:cNvPr id="61" name="Picture 60"/>
            <p:cNvPicPr>
              <a:picLocks noChangeAspect="1"/>
            </p:cNvPicPr>
            <p:nvPr/>
          </p:nvPicPr>
          <p:blipFill>
            <a:blip r:embed="rId3" cstate="screen">
              <a:biLevel thresh="25000"/>
              <a:extLst>
                <a:ext uri="{28A0092B-C50C-407E-A947-70E740481C1C}">
                  <a14:useLocalDpi xmlns:a14="http://schemas.microsoft.com/office/drawing/2010/main"/>
                </a:ext>
              </a:extLst>
            </a:blip>
            <a:stretch>
              <a:fillRect/>
            </a:stretch>
          </p:blipFill>
          <p:spPr>
            <a:xfrm rot="10800000">
              <a:off x="4231299" y="4253486"/>
              <a:ext cx="818085" cy="818085"/>
            </a:xfrm>
            <a:prstGeom prst="rect">
              <a:avLst/>
            </a:prstGeom>
          </p:spPr>
        </p:pic>
        <p:sp>
          <p:nvSpPr>
            <p:cNvPr id="64" name="Striped Right Arrow 63"/>
            <p:cNvSpPr/>
            <p:nvPr/>
          </p:nvSpPr>
          <p:spPr bwMode="auto">
            <a:xfrm rot="16200000">
              <a:off x="3964130" y="3236472"/>
              <a:ext cx="1352422"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grpSp>
      <p:grpSp>
        <p:nvGrpSpPr>
          <p:cNvPr id="12" name="Group 11">
            <a:extLst>
              <a:ext uri="{FF2B5EF4-FFF2-40B4-BE49-F238E27FC236}">
                <a16:creationId xmlns:a16="http://schemas.microsoft.com/office/drawing/2014/main" id="{197C109B-949E-4286-8ADA-1D9C5CC2DE3C}"/>
              </a:ext>
            </a:extLst>
          </p:cNvPr>
          <p:cNvGrpSpPr/>
          <p:nvPr/>
        </p:nvGrpSpPr>
        <p:grpSpPr>
          <a:xfrm>
            <a:off x="6296906" y="1975428"/>
            <a:ext cx="3045531" cy="4938205"/>
            <a:chOff x="6296906" y="1975428"/>
            <a:chExt cx="3045531" cy="4938205"/>
          </a:xfrm>
        </p:grpSpPr>
        <p:grpSp>
          <p:nvGrpSpPr>
            <p:cNvPr id="5" name="Group 4"/>
            <p:cNvGrpSpPr/>
            <p:nvPr/>
          </p:nvGrpSpPr>
          <p:grpSpPr>
            <a:xfrm>
              <a:off x="6296906" y="4968721"/>
              <a:ext cx="3045531" cy="1944912"/>
              <a:chOff x="6296906" y="4968721"/>
              <a:chExt cx="3045531" cy="1944912"/>
            </a:xfrm>
          </p:grpSpPr>
          <p:sp>
            <p:nvSpPr>
              <p:cNvPr id="44" name="TextBox 43"/>
              <p:cNvSpPr txBox="1"/>
              <p:nvPr/>
            </p:nvSpPr>
            <p:spPr>
              <a:xfrm>
                <a:off x="7155431" y="4968721"/>
                <a:ext cx="1329531" cy="544765"/>
              </a:xfrm>
              <a:prstGeom prst="rect">
                <a:avLst/>
              </a:prstGeom>
              <a:noFill/>
            </p:spPr>
            <p:txBody>
              <a:bodyPr wrap="none" lIns="182880" tIns="146304" rIns="182880" bIns="146304" rtlCol="0">
                <a:spAutoFit/>
              </a:bodyPr>
              <a:lstStyle/>
              <a:p>
                <a:pPr defTabSz="914400">
                  <a:lnSpc>
                    <a:spcPct val="90000"/>
                  </a:lnSpc>
                  <a:spcAft>
                    <a:spcPts val="600"/>
                  </a:spcAft>
                  <a:defRPr/>
                </a:pPr>
                <a:r>
                  <a:rPr lang="en-GB" b="1" kern="0" dirty="0">
                    <a:gradFill>
                      <a:gsLst>
                        <a:gs pos="2917">
                          <a:srgbClr val="FFFFFF"/>
                        </a:gs>
                        <a:gs pos="30000">
                          <a:srgbClr val="FFFFFF"/>
                        </a:gs>
                      </a:gsLst>
                      <a:lin ang="5400000" scaled="0"/>
                    </a:gradFill>
                  </a:rPr>
                  <a:t>Methods</a:t>
                </a:r>
              </a:p>
            </p:txBody>
          </p:sp>
          <p:sp>
            <p:nvSpPr>
              <p:cNvPr id="45" name="TextBox 44"/>
              <p:cNvSpPr txBox="1"/>
              <p:nvPr/>
            </p:nvSpPr>
            <p:spPr>
              <a:xfrm>
                <a:off x="6296906" y="5371672"/>
                <a:ext cx="3045531" cy="1541961"/>
              </a:xfrm>
              <a:prstGeom prst="rect">
                <a:avLst/>
              </a:prstGeom>
              <a:noFill/>
            </p:spPr>
            <p:txBody>
              <a:bodyPr wrap="square" lIns="182880" tIns="146304" rIns="182880" bIns="146304" rtlCol="0">
                <a:spAutoFit/>
              </a:bodyPr>
              <a:lstStyle/>
              <a:p>
                <a:pPr defTabSz="914400">
                  <a:lnSpc>
                    <a:spcPct val="90000"/>
                  </a:lnSpc>
                  <a:spcAft>
                    <a:spcPts val="600"/>
                  </a:spcAft>
                  <a:defRPr/>
                </a:pPr>
                <a:r>
                  <a:rPr lang="en-GB" kern="0" dirty="0">
                    <a:gradFill>
                      <a:gsLst>
                        <a:gs pos="2917">
                          <a:srgbClr val="FFFFFF"/>
                        </a:gs>
                        <a:gs pos="30000">
                          <a:srgbClr val="FFFFFF"/>
                        </a:gs>
                      </a:gsLst>
                      <a:lin ang="5400000" scaled="0"/>
                    </a:gradFill>
                  </a:rPr>
                  <a:t>Devices exposes methods that can called from a external applications using a request/response pattern</a:t>
                </a:r>
              </a:p>
            </p:txBody>
          </p:sp>
        </p:grpSp>
        <p:sp>
          <p:nvSpPr>
            <p:cNvPr id="55" name="Frame 5"/>
            <p:cNvSpPr>
              <a:spLocks noChangeAspect="1"/>
            </p:cNvSpPr>
            <p:nvPr/>
          </p:nvSpPr>
          <p:spPr bwMode="auto">
            <a:xfrm>
              <a:off x="7450325" y="1975428"/>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pic>
          <p:nvPicPr>
            <p:cNvPr id="60" name="Picture 59"/>
            <p:cNvPicPr>
              <a:picLocks noChangeAspect="1"/>
            </p:cNvPicPr>
            <p:nvPr/>
          </p:nvPicPr>
          <p:blipFill>
            <a:blip r:embed="rId3" cstate="screen">
              <a:biLevel thresh="25000"/>
              <a:extLst>
                <a:ext uri="{28A0092B-C50C-407E-A947-70E740481C1C}">
                  <a14:useLocalDpi xmlns:a14="http://schemas.microsoft.com/office/drawing/2010/main"/>
                </a:ext>
              </a:extLst>
            </a:blip>
            <a:stretch>
              <a:fillRect/>
            </a:stretch>
          </p:blipFill>
          <p:spPr>
            <a:xfrm rot="10800000">
              <a:off x="7410629" y="4245762"/>
              <a:ext cx="818085" cy="818085"/>
            </a:xfrm>
            <a:prstGeom prst="rect">
              <a:avLst/>
            </a:prstGeom>
          </p:spPr>
        </p:pic>
        <p:sp>
          <p:nvSpPr>
            <p:cNvPr id="66" name="Striped Right Arrow 65"/>
            <p:cNvSpPr/>
            <p:nvPr/>
          </p:nvSpPr>
          <p:spPr bwMode="auto">
            <a:xfrm rot="5400000">
              <a:off x="7237250" y="2947985"/>
              <a:ext cx="622689" cy="475864"/>
            </a:xfrm>
            <a:prstGeom prst="stripedRightArrow">
              <a:avLst>
                <a:gd name="adj1" fmla="val 66677"/>
                <a:gd name="adj2" fmla="val 50000"/>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65" name="Striped Right Arrow 64"/>
            <p:cNvSpPr/>
            <p:nvPr/>
          </p:nvSpPr>
          <p:spPr bwMode="auto">
            <a:xfrm rot="16200000">
              <a:off x="7268142" y="3280504"/>
              <a:ext cx="1352422"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grpSp>
      <p:grpSp>
        <p:nvGrpSpPr>
          <p:cNvPr id="8" name="Group 7">
            <a:extLst>
              <a:ext uri="{FF2B5EF4-FFF2-40B4-BE49-F238E27FC236}">
                <a16:creationId xmlns:a16="http://schemas.microsoft.com/office/drawing/2014/main" id="{2426117D-E826-4F5D-A5DA-BA630D003218}"/>
              </a:ext>
            </a:extLst>
          </p:cNvPr>
          <p:cNvGrpSpPr/>
          <p:nvPr/>
        </p:nvGrpSpPr>
        <p:grpSpPr>
          <a:xfrm>
            <a:off x="9394585" y="1983152"/>
            <a:ext cx="3045531" cy="4688906"/>
            <a:chOff x="-4755105" y="1485604"/>
            <a:chExt cx="3045531" cy="4688906"/>
          </a:xfrm>
        </p:grpSpPr>
        <p:grpSp>
          <p:nvGrpSpPr>
            <p:cNvPr id="4" name="Group 3"/>
            <p:cNvGrpSpPr/>
            <p:nvPr/>
          </p:nvGrpSpPr>
          <p:grpSpPr>
            <a:xfrm>
              <a:off x="-4755105" y="4478897"/>
              <a:ext cx="3045531" cy="1695613"/>
              <a:chOff x="3172706" y="4968721"/>
              <a:chExt cx="3045531" cy="1695613"/>
            </a:xfrm>
          </p:grpSpPr>
          <p:sp>
            <p:nvSpPr>
              <p:cNvPr id="37" name="TextBox 36"/>
              <p:cNvSpPr txBox="1"/>
              <p:nvPr/>
            </p:nvSpPr>
            <p:spPr>
              <a:xfrm>
                <a:off x="4227481" y="4968721"/>
                <a:ext cx="927177" cy="544765"/>
              </a:xfrm>
              <a:prstGeom prst="rect">
                <a:avLst/>
              </a:prstGeom>
              <a:noFill/>
            </p:spPr>
            <p:txBody>
              <a:bodyPr wrap="none" lIns="182880" tIns="146304" rIns="182880" bIns="146304" rtlCol="0">
                <a:spAutoFit/>
              </a:bodyPr>
              <a:lstStyle/>
              <a:p>
                <a:pPr defTabSz="914400">
                  <a:lnSpc>
                    <a:spcPct val="90000"/>
                  </a:lnSpc>
                  <a:spcAft>
                    <a:spcPts val="600"/>
                  </a:spcAft>
                  <a:defRPr/>
                </a:pPr>
                <a:r>
                  <a:rPr lang="en-GB" b="1" kern="0" dirty="0">
                    <a:gradFill>
                      <a:gsLst>
                        <a:gs pos="2917">
                          <a:srgbClr val="FFFFFF"/>
                        </a:gs>
                        <a:gs pos="30000">
                          <a:srgbClr val="FFFFFF"/>
                        </a:gs>
                      </a:gsLst>
                      <a:lin ang="5400000" scaled="0"/>
                    </a:gradFill>
                  </a:rPr>
                  <a:t>State</a:t>
                </a:r>
              </a:p>
            </p:txBody>
          </p:sp>
          <p:sp>
            <p:nvSpPr>
              <p:cNvPr id="38" name="TextBox 37"/>
              <p:cNvSpPr txBox="1"/>
              <p:nvPr/>
            </p:nvSpPr>
            <p:spPr>
              <a:xfrm>
                <a:off x="3172706" y="5371672"/>
                <a:ext cx="3045531" cy="1292662"/>
              </a:xfrm>
              <a:prstGeom prst="rect">
                <a:avLst/>
              </a:prstGeom>
              <a:noFill/>
            </p:spPr>
            <p:txBody>
              <a:bodyPr wrap="square" lIns="182880" tIns="146304" rIns="182880" bIns="146304" rtlCol="0">
                <a:spAutoFit/>
              </a:bodyPr>
              <a:lstStyle/>
              <a:p>
                <a:pPr defTabSz="914400">
                  <a:lnSpc>
                    <a:spcPct val="90000"/>
                  </a:lnSpc>
                  <a:spcAft>
                    <a:spcPts val="600"/>
                  </a:spcAft>
                  <a:defRPr/>
                </a:pPr>
                <a:r>
                  <a:rPr lang="en-GB" kern="0" dirty="0">
                    <a:gradFill>
                      <a:gsLst>
                        <a:gs pos="2917">
                          <a:srgbClr val="FFFFFF"/>
                        </a:gs>
                        <a:gs pos="30000">
                          <a:srgbClr val="FFFFFF"/>
                        </a:gs>
                      </a:gsLst>
                      <a:lin ang="5400000" scaled="0"/>
                    </a:gradFill>
                  </a:rPr>
                  <a:t>Device state is exchanged using device-twin configuration stored in the </a:t>
                </a:r>
                <a:r>
                  <a:rPr lang="en-GB" kern="0" dirty="0" err="1">
                    <a:gradFill>
                      <a:gsLst>
                        <a:gs pos="2917">
                          <a:srgbClr val="FFFFFF"/>
                        </a:gs>
                        <a:gs pos="30000">
                          <a:srgbClr val="FFFFFF"/>
                        </a:gs>
                      </a:gsLst>
                      <a:lin ang="5400000" scaled="0"/>
                    </a:gradFill>
                  </a:rPr>
                  <a:t>IoT</a:t>
                </a:r>
                <a:r>
                  <a:rPr lang="en-GB" kern="0" dirty="0">
                    <a:gradFill>
                      <a:gsLst>
                        <a:gs pos="2917">
                          <a:srgbClr val="FFFFFF"/>
                        </a:gs>
                        <a:gs pos="30000">
                          <a:srgbClr val="FFFFFF"/>
                        </a:gs>
                      </a:gsLst>
                      <a:lin ang="5400000" scaled="0"/>
                    </a:gradFill>
                  </a:rPr>
                  <a:t> Hub.</a:t>
                </a:r>
              </a:p>
            </p:txBody>
          </p:sp>
        </p:grpSp>
        <p:sp>
          <p:nvSpPr>
            <p:cNvPr id="56" name="Frame 5"/>
            <p:cNvSpPr>
              <a:spLocks noChangeAspect="1"/>
            </p:cNvSpPr>
            <p:nvPr/>
          </p:nvSpPr>
          <p:spPr bwMode="auto">
            <a:xfrm>
              <a:off x="-3601686" y="1485604"/>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pic>
          <p:nvPicPr>
            <p:cNvPr id="59" name="Picture 58"/>
            <p:cNvPicPr>
              <a:picLocks noChangeAspect="1"/>
            </p:cNvPicPr>
            <p:nvPr/>
          </p:nvPicPr>
          <p:blipFill>
            <a:blip r:embed="rId3" cstate="screen">
              <a:biLevel thresh="25000"/>
              <a:extLst>
                <a:ext uri="{28A0092B-C50C-407E-A947-70E740481C1C}">
                  <a14:useLocalDpi xmlns:a14="http://schemas.microsoft.com/office/drawing/2010/main"/>
                </a:ext>
              </a:extLst>
            </a:blip>
            <a:stretch>
              <a:fillRect/>
            </a:stretch>
          </p:blipFill>
          <p:spPr>
            <a:xfrm rot="10800000">
              <a:off x="-3641382" y="3755938"/>
              <a:ext cx="818085" cy="818085"/>
            </a:xfrm>
            <a:prstGeom prst="rect">
              <a:avLst/>
            </a:prstGeom>
          </p:spPr>
        </p:pic>
        <p:sp>
          <p:nvSpPr>
            <p:cNvPr id="7" name="Arrow: Up-Down 6">
              <a:extLst>
                <a:ext uri="{FF2B5EF4-FFF2-40B4-BE49-F238E27FC236}">
                  <a16:creationId xmlns:a16="http://schemas.microsoft.com/office/drawing/2014/main" id="{B358D53D-3822-401B-A839-4BCB4D9FE937}"/>
                </a:ext>
              </a:extLst>
            </p:cNvPr>
            <p:cNvSpPr/>
            <p:nvPr/>
          </p:nvSpPr>
          <p:spPr bwMode="auto">
            <a:xfrm>
              <a:off x="-3497792" y="2352401"/>
              <a:ext cx="522099" cy="1352422"/>
            </a:xfrm>
            <a:prstGeom prst="upDownArrow">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a:endParaRPr lang="sv-SE" sz="2000" dirty="0">
                <a:gradFill>
                  <a:gsLst>
                    <a:gs pos="16814">
                      <a:srgbClr val="FFFFFF"/>
                    </a:gs>
                    <a:gs pos="46000">
                      <a:srgbClr val="FFFFFF"/>
                    </a:gs>
                  </a:gsLst>
                  <a:lin ang="5400000" scaled="0"/>
                </a:gradFill>
              </a:endParaRPr>
            </a:p>
          </p:txBody>
        </p:sp>
      </p:grpSp>
    </p:spTree>
    <p:extLst>
      <p:ext uri="{BB962C8B-B14F-4D97-AF65-F5344CB8AC3E}">
        <p14:creationId xmlns:p14="http://schemas.microsoft.com/office/powerpoint/2010/main" val="28445775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ice Management – Device Twins</a:t>
            </a:r>
          </a:p>
        </p:txBody>
      </p:sp>
      <p:sp>
        <p:nvSpPr>
          <p:cNvPr id="4" name="Text Placeholder 3"/>
          <p:cNvSpPr>
            <a:spLocks noGrp="1"/>
          </p:cNvSpPr>
          <p:nvPr>
            <p:ph type="body" sz="quarter" idx="10"/>
          </p:nvPr>
        </p:nvSpPr>
        <p:spPr>
          <a:xfrm>
            <a:off x="466367" y="1792347"/>
            <a:ext cx="11786844" cy="4881336"/>
          </a:xfrm>
        </p:spPr>
        <p:txBody>
          <a:bodyPr/>
          <a:lstStyle/>
          <a:p>
            <a:r>
              <a:rPr lang="en-US" sz="2800" dirty="0"/>
              <a:t>JSON documents to store device state information (metadata, configurations, and conditions). </a:t>
            </a:r>
          </a:p>
          <a:p>
            <a:r>
              <a:rPr lang="en-US" sz="2800" dirty="0"/>
              <a:t>Use device twins to:</a:t>
            </a:r>
          </a:p>
          <a:p>
            <a:pPr marL="457200" indent="-457200">
              <a:buFont typeface="Arial" panose="020B0604020202020204" pitchFamily="34" charset="0"/>
              <a:buChar char="•"/>
            </a:pPr>
            <a:r>
              <a:rPr lang="en-US" sz="2400" dirty="0"/>
              <a:t>Store device metadata from your solution back end.</a:t>
            </a:r>
          </a:p>
          <a:p>
            <a:pPr marL="457200" indent="-457200">
              <a:buFont typeface="Arial" panose="020B0604020202020204" pitchFamily="34" charset="0"/>
              <a:buChar char="•"/>
            </a:pPr>
            <a:r>
              <a:rPr lang="en-US" sz="2400" dirty="0"/>
              <a:t>Report current state information such as available capabilities and conditions (for example, the connectivity method used) from your device app.</a:t>
            </a:r>
          </a:p>
          <a:p>
            <a:pPr marL="457200" indent="-457200">
              <a:buFont typeface="Arial" panose="020B0604020202020204" pitchFamily="34" charset="0"/>
              <a:buChar char="•"/>
            </a:pPr>
            <a:r>
              <a:rPr lang="en-US" sz="2400" dirty="0"/>
              <a:t>Synchronize the state of long-running workflows (such as firmware and configuration updates) between a device app and a back-end app.</a:t>
            </a:r>
          </a:p>
          <a:p>
            <a:pPr marL="457200" indent="-457200">
              <a:buFont typeface="Arial" panose="020B0604020202020204" pitchFamily="34" charset="0"/>
              <a:buChar char="•"/>
            </a:pPr>
            <a:r>
              <a:rPr lang="en-US" sz="2400" dirty="0"/>
              <a:t>Query your device metadata, configuration, or state.</a:t>
            </a:r>
            <a:endParaRPr lang="en-US" sz="2800" dirty="0"/>
          </a:p>
        </p:txBody>
      </p:sp>
    </p:spTree>
    <p:extLst>
      <p:ext uri="{BB962C8B-B14F-4D97-AF65-F5344CB8AC3E}">
        <p14:creationId xmlns:p14="http://schemas.microsoft.com/office/powerpoint/2010/main" val="240880181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ice Management – Device Twins</a:t>
            </a:r>
          </a:p>
        </p:txBody>
      </p:sp>
      <p:sp>
        <p:nvSpPr>
          <p:cNvPr id="4" name="Text Placeholder 3"/>
          <p:cNvSpPr>
            <a:spLocks noGrp="1"/>
          </p:cNvSpPr>
          <p:nvPr>
            <p:ph type="body" sz="quarter" idx="10"/>
          </p:nvPr>
        </p:nvSpPr>
        <p:spPr>
          <a:xfrm>
            <a:off x="466367" y="1792347"/>
            <a:ext cx="6940577" cy="4653582"/>
          </a:xfrm>
        </p:spPr>
        <p:txBody>
          <a:bodyPr/>
          <a:lstStyle/>
          <a:p>
            <a:r>
              <a:rPr lang="en-US" sz="3200" dirty="0"/>
              <a:t>Device twins contain:</a:t>
            </a:r>
          </a:p>
          <a:p>
            <a:pPr marL="457200" indent="-457200">
              <a:buFont typeface="Arial" panose="020B0604020202020204" pitchFamily="34" charset="0"/>
              <a:buChar char="•"/>
            </a:pPr>
            <a:r>
              <a:rPr lang="en-US" sz="2800" i="1" dirty="0"/>
              <a:t>tags</a:t>
            </a:r>
            <a:r>
              <a:rPr lang="en-US" sz="2800" dirty="0"/>
              <a:t>, device metadata accessible only by the solution back end;</a:t>
            </a:r>
          </a:p>
          <a:p>
            <a:pPr marL="457200" indent="-457200">
              <a:buFont typeface="Arial" panose="020B0604020202020204" pitchFamily="34" charset="0"/>
              <a:buChar char="•"/>
            </a:pPr>
            <a:r>
              <a:rPr lang="en-US" sz="2800" i="1" dirty="0"/>
              <a:t>desired properties</a:t>
            </a:r>
            <a:r>
              <a:rPr lang="en-US" sz="2800" dirty="0"/>
              <a:t>, modifiable by the solution back end and observable by the device app</a:t>
            </a:r>
          </a:p>
          <a:p>
            <a:pPr marL="457200" indent="-457200">
              <a:buFont typeface="Arial" panose="020B0604020202020204" pitchFamily="34" charset="0"/>
              <a:buChar char="•"/>
            </a:pPr>
            <a:r>
              <a:rPr lang="en-US" sz="2800" i="1" dirty="0"/>
              <a:t>reported properties</a:t>
            </a:r>
            <a:r>
              <a:rPr lang="en-US" sz="2800" dirty="0"/>
              <a:t>, modifiable by the device app and readable by the solution back end. </a:t>
            </a:r>
            <a:endParaRPr lang="en-US" sz="3200" dirty="0"/>
          </a:p>
        </p:txBody>
      </p:sp>
      <p:pic>
        <p:nvPicPr>
          <p:cNvPr id="136194" name="Picture 2" descr="https://docs.microsoft.com/en-us/azure/includes/media/iot-hub-selector-twin-get-started/twi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15505" y="2674311"/>
            <a:ext cx="4960647" cy="25312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140047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ice Management Patterns - Reboot</a:t>
            </a:r>
          </a:p>
        </p:txBody>
      </p:sp>
      <p:pic>
        <p:nvPicPr>
          <p:cNvPr id="137218" name="Picture 2" descr="Device management reboot pattern graphic"/>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25619" y="2016125"/>
            <a:ext cx="8573129" cy="39499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044372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ice Management Patterns – Factory Reset</a:t>
            </a:r>
          </a:p>
        </p:txBody>
      </p:sp>
      <p:pic>
        <p:nvPicPr>
          <p:cNvPr id="138242" name="Picture 2" descr="Device management factory reset pattern graphic"/>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33804" y="1949450"/>
            <a:ext cx="8873505" cy="41081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896582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ice Management Patterns – Configuration</a:t>
            </a:r>
          </a:p>
        </p:txBody>
      </p:sp>
      <p:pic>
        <p:nvPicPr>
          <p:cNvPr id="139266" name="Picture 2" descr="Device management configuration pattern graphic"/>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03482" y="1844675"/>
            <a:ext cx="8292209" cy="42128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430394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munication Patterns – Device to Cloud</a:t>
            </a:r>
          </a:p>
        </p:txBody>
      </p:sp>
      <p:graphicFrame>
        <p:nvGraphicFramePr>
          <p:cNvPr id="5" name="Table 4"/>
          <p:cNvGraphicFramePr>
            <a:graphicFrameLocks noGrp="1"/>
          </p:cNvGraphicFramePr>
          <p:nvPr>
            <p:extLst>
              <p:ext uri="{D42A27DB-BD31-4B8C-83A1-F6EECF244321}">
                <p14:modId xmlns:p14="http://schemas.microsoft.com/office/powerpoint/2010/main" val="4123349143"/>
              </p:ext>
            </p:extLst>
          </p:nvPr>
        </p:nvGraphicFramePr>
        <p:xfrm>
          <a:off x="274637" y="1851359"/>
          <a:ext cx="11704256" cy="4690995"/>
        </p:xfrm>
        <a:graphic>
          <a:graphicData uri="http://schemas.openxmlformats.org/drawingml/2006/table">
            <a:tbl>
              <a:tblPr firstRow="1" bandRow="1">
                <a:tableStyleId>{5C22544A-7EE6-4342-B048-85BDC9FD1C3A}</a:tableStyleId>
              </a:tblPr>
              <a:tblGrid>
                <a:gridCol w="2926064">
                  <a:extLst>
                    <a:ext uri="{9D8B030D-6E8A-4147-A177-3AD203B41FA5}">
                      <a16:colId xmlns:a16="http://schemas.microsoft.com/office/drawing/2014/main" val="4273456223"/>
                    </a:ext>
                  </a:extLst>
                </a:gridCol>
                <a:gridCol w="2926064">
                  <a:extLst>
                    <a:ext uri="{9D8B030D-6E8A-4147-A177-3AD203B41FA5}">
                      <a16:colId xmlns:a16="http://schemas.microsoft.com/office/drawing/2014/main" val="597986686"/>
                    </a:ext>
                  </a:extLst>
                </a:gridCol>
                <a:gridCol w="2926064">
                  <a:extLst>
                    <a:ext uri="{9D8B030D-6E8A-4147-A177-3AD203B41FA5}">
                      <a16:colId xmlns:a16="http://schemas.microsoft.com/office/drawing/2014/main" val="1703921178"/>
                    </a:ext>
                  </a:extLst>
                </a:gridCol>
                <a:gridCol w="2926064">
                  <a:extLst>
                    <a:ext uri="{9D8B030D-6E8A-4147-A177-3AD203B41FA5}">
                      <a16:colId xmlns:a16="http://schemas.microsoft.com/office/drawing/2014/main" val="457693584"/>
                    </a:ext>
                  </a:extLst>
                </a:gridCol>
              </a:tblGrid>
              <a:tr h="776369">
                <a:tc>
                  <a:txBody>
                    <a:bodyPr/>
                    <a:lstStyle/>
                    <a:p>
                      <a:endParaRPr lang="sv-SE" dirty="0"/>
                    </a:p>
                  </a:txBody>
                  <a:tcPr/>
                </a:tc>
                <a:tc>
                  <a:txBody>
                    <a:bodyPr/>
                    <a:lstStyle/>
                    <a:p>
                      <a:r>
                        <a:rPr lang="sv-SE" dirty="0"/>
                        <a:t>Device to Cloud Messages</a:t>
                      </a:r>
                    </a:p>
                  </a:txBody>
                  <a:tcPr/>
                </a:tc>
                <a:tc>
                  <a:txBody>
                    <a:bodyPr/>
                    <a:lstStyle/>
                    <a:p>
                      <a:r>
                        <a:rPr lang="sv-SE" dirty="0"/>
                        <a:t>Reported Properties</a:t>
                      </a:r>
                    </a:p>
                  </a:txBody>
                  <a:tcPr/>
                </a:tc>
                <a:tc>
                  <a:txBody>
                    <a:bodyPr/>
                    <a:lstStyle/>
                    <a:p>
                      <a:r>
                        <a:rPr lang="sv-SE" dirty="0"/>
                        <a:t>File Uploads</a:t>
                      </a:r>
                    </a:p>
                  </a:txBody>
                  <a:tcPr/>
                </a:tc>
                <a:extLst>
                  <a:ext uri="{0D108BD9-81ED-4DB2-BD59-A6C34878D82A}">
                    <a16:rowId xmlns:a16="http://schemas.microsoft.com/office/drawing/2014/main" val="2385533983"/>
                  </a:ext>
                </a:extLst>
              </a:tr>
              <a:tr h="1121434">
                <a:tc>
                  <a:txBody>
                    <a:bodyPr/>
                    <a:lstStyle/>
                    <a:p>
                      <a:r>
                        <a:rPr lang="sv-SE" dirty="0"/>
                        <a:t>Scenario</a:t>
                      </a:r>
                    </a:p>
                  </a:txBody>
                  <a:tcPr/>
                </a:tc>
                <a:tc>
                  <a:txBody>
                    <a:bodyPr/>
                    <a:lstStyle/>
                    <a:p>
                      <a:r>
                        <a:rPr lang="sv-SE" dirty="0"/>
                        <a:t>Telemetry time-series, alerts</a:t>
                      </a:r>
                    </a:p>
                  </a:txBody>
                  <a:tcPr/>
                </a:tc>
                <a:tc>
                  <a:txBody>
                    <a:bodyPr/>
                    <a:lstStyle/>
                    <a:p>
                      <a:r>
                        <a:rPr lang="sv-SE" dirty="0"/>
                        <a:t>Available capabilities, state</a:t>
                      </a:r>
                      <a:r>
                        <a:rPr lang="sv-SE" baseline="0" dirty="0"/>
                        <a:t> (e.g. Wifi or cellular), long-runnign workflows (updates)</a:t>
                      </a:r>
                      <a:endParaRPr lang="sv-SE" dirty="0"/>
                    </a:p>
                  </a:txBody>
                  <a:tcPr/>
                </a:tc>
                <a:tc>
                  <a:txBody>
                    <a:bodyPr/>
                    <a:lstStyle/>
                    <a:p>
                      <a:r>
                        <a:rPr lang="sv-SE" dirty="0"/>
                        <a:t>Media</a:t>
                      </a:r>
                      <a:r>
                        <a:rPr lang="sv-SE" baseline="0" dirty="0"/>
                        <a:t> files</a:t>
                      </a:r>
                      <a:endParaRPr lang="sv-SE" dirty="0"/>
                    </a:p>
                  </a:txBody>
                  <a:tcPr/>
                </a:tc>
                <a:extLst>
                  <a:ext uri="{0D108BD9-81ED-4DB2-BD59-A6C34878D82A}">
                    <a16:rowId xmlns:a16="http://schemas.microsoft.com/office/drawing/2014/main" val="3435151854"/>
                  </a:ext>
                </a:extLst>
              </a:tr>
              <a:tr h="862642">
                <a:tc>
                  <a:txBody>
                    <a:bodyPr/>
                    <a:lstStyle/>
                    <a:p>
                      <a:r>
                        <a:rPr lang="sv-SE" dirty="0"/>
                        <a:t>Storage</a:t>
                      </a:r>
                      <a:r>
                        <a:rPr lang="sv-SE" baseline="0" dirty="0"/>
                        <a:t> and Retrieval</a:t>
                      </a:r>
                      <a:endParaRPr lang="sv-SE" dirty="0"/>
                    </a:p>
                  </a:txBody>
                  <a:tcPr/>
                </a:tc>
                <a:tc>
                  <a:txBody>
                    <a:bodyPr/>
                    <a:lstStyle/>
                    <a:p>
                      <a:r>
                        <a:rPr lang="sv-SE" dirty="0"/>
                        <a:t>Temporarily stored by IOT Hub (7 days), Squential read</a:t>
                      </a:r>
                    </a:p>
                  </a:txBody>
                  <a:tcPr/>
                </a:tc>
                <a:tc>
                  <a:txBody>
                    <a:bodyPr/>
                    <a:lstStyle/>
                    <a:p>
                      <a:r>
                        <a:rPr lang="sv-SE" dirty="0"/>
                        <a:t>Stored in device</a:t>
                      </a:r>
                      <a:r>
                        <a:rPr lang="sv-SE" baseline="0" dirty="0"/>
                        <a:t> twins, retrieved using queries</a:t>
                      </a:r>
                      <a:endParaRPr lang="sv-SE" dirty="0"/>
                    </a:p>
                  </a:txBody>
                  <a:tcPr/>
                </a:tc>
                <a:tc>
                  <a:txBody>
                    <a:bodyPr/>
                    <a:lstStyle/>
                    <a:p>
                      <a:r>
                        <a:rPr lang="sv-SE" dirty="0"/>
                        <a:t>Azure</a:t>
                      </a:r>
                      <a:r>
                        <a:rPr lang="sv-SE" baseline="0" dirty="0"/>
                        <a:t> storage account</a:t>
                      </a:r>
                      <a:endParaRPr lang="sv-SE" dirty="0"/>
                    </a:p>
                  </a:txBody>
                  <a:tcPr/>
                </a:tc>
                <a:extLst>
                  <a:ext uri="{0D108BD9-81ED-4DB2-BD59-A6C34878D82A}">
                    <a16:rowId xmlns:a16="http://schemas.microsoft.com/office/drawing/2014/main" val="3398154563"/>
                  </a:ext>
                </a:extLst>
              </a:tr>
              <a:tr h="517558">
                <a:tc>
                  <a:txBody>
                    <a:bodyPr/>
                    <a:lstStyle/>
                    <a:p>
                      <a:r>
                        <a:rPr lang="sv-SE" dirty="0"/>
                        <a:t>Size</a:t>
                      </a:r>
                    </a:p>
                  </a:txBody>
                  <a:tcPr/>
                </a:tc>
                <a:tc>
                  <a:txBody>
                    <a:bodyPr/>
                    <a:lstStyle/>
                    <a:p>
                      <a:r>
                        <a:rPr lang="sv-SE" dirty="0"/>
                        <a:t>256 KB</a:t>
                      </a:r>
                    </a:p>
                  </a:txBody>
                  <a:tcPr/>
                </a:tc>
                <a:tc>
                  <a:txBody>
                    <a:bodyPr/>
                    <a:lstStyle/>
                    <a:p>
                      <a:r>
                        <a:rPr lang="sv-SE" dirty="0"/>
                        <a:t>8 KB</a:t>
                      </a:r>
                    </a:p>
                  </a:txBody>
                  <a:tcPr/>
                </a:tc>
                <a:tc>
                  <a:txBody>
                    <a:bodyPr/>
                    <a:lstStyle/>
                    <a:p>
                      <a:r>
                        <a:rPr lang="sv-SE" dirty="0"/>
                        <a:t>Azure Blob Storage</a:t>
                      </a:r>
                    </a:p>
                  </a:txBody>
                  <a:tcPr/>
                </a:tc>
                <a:extLst>
                  <a:ext uri="{0D108BD9-81ED-4DB2-BD59-A6C34878D82A}">
                    <a16:rowId xmlns:a16="http://schemas.microsoft.com/office/drawing/2014/main" val="2762866165"/>
                  </a:ext>
                </a:extLst>
              </a:tr>
              <a:tr h="517579">
                <a:tc>
                  <a:txBody>
                    <a:bodyPr/>
                    <a:lstStyle/>
                    <a:p>
                      <a:r>
                        <a:rPr lang="sv-SE" dirty="0"/>
                        <a:t>Frequency</a:t>
                      </a:r>
                    </a:p>
                  </a:txBody>
                  <a:tcPr/>
                </a:tc>
                <a:tc>
                  <a:txBody>
                    <a:bodyPr/>
                    <a:lstStyle/>
                    <a:p>
                      <a:r>
                        <a:rPr lang="sv-SE" dirty="0"/>
                        <a:t>High</a:t>
                      </a:r>
                    </a:p>
                  </a:txBody>
                  <a:tcPr/>
                </a:tc>
                <a:tc>
                  <a:txBody>
                    <a:bodyPr/>
                    <a:lstStyle/>
                    <a:p>
                      <a:r>
                        <a:rPr lang="sv-SE" dirty="0"/>
                        <a:t>Medium</a:t>
                      </a:r>
                    </a:p>
                  </a:txBody>
                  <a:tcPr/>
                </a:tc>
                <a:tc>
                  <a:txBody>
                    <a:bodyPr/>
                    <a:lstStyle/>
                    <a:p>
                      <a:r>
                        <a:rPr lang="sv-SE" dirty="0"/>
                        <a:t>Low</a:t>
                      </a:r>
                    </a:p>
                  </a:txBody>
                  <a:tcPr/>
                </a:tc>
                <a:extLst>
                  <a:ext uri="{0D108BD9-81ED-4DB2-BD59-A6C34878D82A}">
                    <a16:rowId xmlns:a16="http://schemas.microsoft.com/office/drawing/2014/main" val="4158861336"/>
                  </a:ext>
                </a:extLst>
              </a:tr>
              <a:tr h="776369">
                <a:tc>
                  <a:txBody>
                    <a:bodyPr/>
                    <a:lstStyle/>
                    <a:p>
                      <a:r>
                        <a:rPr lang="sv-SE" dirty="0"/>
                        <a:t>Protocol</a:t>
                      </a:r>
                    </a:p>
                  </a:txBody>
                  <a:tcPr/>
                </a:tc>
                <a:tc>
                  <a:txBody>
                    <a:bodyPr/>
                    <a:lstStyle/>
                    <a:p>
                      <a:r>
                        <a:rPr lang="sv-SE" dirty="0"/>
                        <a:t>All protocols</a:t>
                      </a:r>
                    </a:p>
                  </a:txBody>
                  <a:tcPr/>
                </a:tc>
                <a:tc>
                  <a:txBody>
                    <a:bodyPr/>
                    <a:lstStyle/>
                    <a:p>
                      <a:r>
                        <a:rPr lang="sv-SE" dirty="0"/>
                        <a:t>MQTT</a:t>
                      </a:r>
                    </a:p>
                  </a:txBody>
                  <a:tcPr/>
                </a:tc>
                <a:tc>
                  <a:txBody>
                    <a:bodyPr/>
                    <a:lstStyle/>
                    <a:p>
                      <a:r>
                        <a:rPr lang="sv-SE" dirty="0"/>
                        <a:t>All Protocols</a:t>
                      </a:r>
                    </a:p>
                  </a:txBody>
                  <a:tcPr/>
                </a:tc>
                <a:extLst>
                  <a:ext uri="{0D108BD9-81ED-4DB2-BD59-A6C34878D82A}">
                    <a16:rowId xmlns:a16="http://schemas.microsoft.com/office/drawing/2014/main" val="944323335"/>
                  </a:ext>
                </a:extLst>
              </a:tr>
            </a:tbl>
          </a:graphicData>
        </a:graphic>
      </p:graphicFrame>
    </p:spTree>
    <p:extLst>
      <p:ext uri="{BB962C8B-B14F-4D97-AF65-F5344CB8AC3E}">
        <p14:creationId xmlns:p14="http://schemas.microsoft.com/office/powerpoint/2010/main" val="410805772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munication Patterns – Cloud to Device</a:t>
            </a:r>
          </a:p>
        </p:txBody>
      </p:sp>
      <p:graphicFrame>
        <p:nvGraphicFramePr>
          <p:cNvPr id="5" name="Table 4"/>
          <p:cNvGraphicFramePr>
            <a:graphicFrameLocks noGrp="1"/>
          </p:cNvGraphicFramePr>
          <p:nvPr>
            <p:extLst>
              <p:ext uri="{D42A27DB-BD31-4B8C-83A1-F6EECF244321}">
                <p14:modId xmlns:p14="http://schemas.microsoft.com/office/powerpoint/2010/main" val="611263960"/>
              </p:ext>
            </p:extLst>
          </p:nvPr>
        </p:nvGraphicFramePr>
        <p:xfrm>
          <a:off x="274637" y="1302726"/>
          <a:ext cx="11704256" cy="5622637"/>
        </p:xfrm>
        <a:graphic>
          <a:graphicData uri="http://schemas.openxmlformats.org/drawingml/2006/table">
            <a:tbl>
              <a:tblPr firstRow="1" bandRow="1">
                <a:tableStyleId>{5C22544A-7EE6-4342-B048-85BDC9FD1C3A}</a:tableStyleId>
              </a:tblPr>
              <a:tblGrid>
                <a:gridCol w="2926064">
                  <a:extLst>
                    <a:ext uri="{9D8B030D-6E8A-4147-A177-3AD203B41FA5}">
                      <a16:colId xmlns:a16="http://schemas.microsoft.com/office/drawing/2014/main" val="4273456223"/>
                    </a:ext>
                  </a:extLst>
                </a:gridCol>
                <a:gridCol w="2926064">
                  <a:extLst>
                    <a:ext uri="{9D8B030D-6E8A-4147-A177-3AD203B41FA5}">
                      <a16:colId xmlns:a16="http://schemas.microsoft.com/office/drawing/2014/main" val="597986686"/>
                    </a:ext>
                  </a:extLst>
                </a:gridCol>
                <a:gridCol w="2926064">
                  <a:extLst>
                    <a:ext uri="{9D8B030D-6E8A-4147-A177-3AD203B41FA5}">
                      <a16:colId xmlns:a16="http://schemas.microsoft.com/office/drawing/2014/main" val="1703921178"/>
                    </a:ext>
                  </a:extLst>
                </a:gridCol>
                <a:gridCol w="2926064">
                  <a:extLst>
                    <a:ext uri="{9D8B030D-6E8A-4147-A177-3AD203B41FA5}">
                      <a16:colId xmlns:a16="http://schemas.microsoft.com/office/drawing/2014/main" val="457693584"/>
                    </a:ext>
                  </a:extLst>
                </a:gridCol>
              </a:tblGrid>
              <a:tr h="776369">
                <a:tc>
                  <a:txBody>
                    <a:bodyPr/>
                    <a:lstStyle/>
                    <a:p>
                      <a:endParaRPr lang="sv-SE" dirty="0"/>
                    </a:p>
                  </a:txBody>
                  <a:tcPr/>
                </a:tc>
                <a:tc>
                  <a:txBody>
                    <a:bodyPr/>
                    <a:lstStyle/>
                    <a:p>
                      <a:r>
                        <a:rPr lang="sv-SE" dirty="0"/>
                        <a:t>Direct Methods</a:t>
                      </a:r>
                    </a:p>
                  </a:txBody>
                  <a:tcPr/>
                </a:tc>
                <a:tc>
                  <a:txBody>
                    <a:bodyPr/>
                    <a:lstStyle/>
                    <a:p>
                      <a:r>
                        <a:rPr lang="sv-SE" dirty="0"/>
                        <a:t>Desired Properties</a:t>
                      </a:r>
                    </a:p>
                  </a:txBody>
                  <a:tcPr/>
                </a:tc>
                <a:tc>
                  <a:txBody>
                    <a:bodyPr/>
                    <a:lstStyle/>
                    <a:p>
                      <a:r>
                        <a:rPr lang="sv-SE" dirty="0"/>
                        <a:t>Cloud to Device messages</a:t>
                      </a:r>
                    </a:p>
                  </a:txBody>
                  <a:tcPr/>
                </a:tc>
                <a:extLst>
                  <a:ext uri="{0D108BD9-81ED-4DB2-BD59-A6C34878D82A}">
                    <a16:rowId xmlns:a16="http://schemas.microsoft.com/office/drawing/2014/main" val="2385533983"/>
                  </a:ext>
                </a:extLst>
              </a:tr>
              <a:tr h="1121434">
                <a:tc>
                  <a:txBody>
                    <a:bodyPr/>
                    <a:lstStyle/>
                    <a:p>
                      <a:r>
                        <a:rPr lang="sv-SE" dirty="0"/>
                        <a:t>Scenario</a:t>
                      </a:r>
                    </a:p>
                  </a:txBody>
                  <a:tcPr/>
                </a:tc>
                <a:tc>
                  <a:txBody>
                    <a:bodyPr/>
                    <a:lstStyle/>
                    <a:p>
                      <a:r>
                        <a:rPr lang="sv-SE" dirty="0"/>
                        <a:t>Immediate</a:t>
                      </a:r>
                      <a:r>
                        <a:rPr lang="sv-SE" baseline="0" dirty="0"/>
                        <a:t> confirmation (turn on/off a sensor)</a:t>
                      </a:r>
                      <a:endParaRPr lang="sv-SE" dirty="0"/>
                    </a:p>
                  </a:txBody>
                  <a:tcPr/>
                </a:tc>
                <a:tc>
                  <a:txBody>
                    <a:bodyPr/>
                    <a:lstStyle/>
                    <a:p>
                      <a:r>
                        <a:rPr lang="sv-SE" dirty="0"/>
                        <a:t>Long running commands to put device in certain state (change interval)</a:t>
                      </a:r>
                    </a:p>
                  </a:txBody>
                  <a:tcPr/>
                </a:tc>
                <a:tc>
                  <a:txBody>
                    <a:bodyPr/>
                    <a:lstStyle/>
                    <a:p>
                      <a:r>
                        <a:rPr lang="sv-SE" dirty="0"/>
                        <a:t>One</a:t>
                      </a:r>
                      <a:r>
                        <a:rPr lang="sv-SE" baseline="0" dirty="0"/>
                        <a:t> way notification to device app</a:t>
                      </a:r>
                      <a:endParaRPr lang="sv-SE" dirty="0"/>
                    </a:p>
                  </a:txBody>
                  <a:tcPr/>
                </a:tc>
                <a:extLst>
                  <a:ext uri="{0D108BD9-81ED-4DB2-BD59-A6C34878D82A}">
                    <a16:rowId xmlns:a16="http://schemas.microsoft.com/office/drawing/2014/main" val="3435151854"/>
                  </a:ext>
                </a:extLst>
              </a:tr>
              <a:tr h="862642">
                <a:tc>
                  <a:txBody>
                    <a:bodyPr/>
                    <a:lstStyle/>
                    <a:p>
                      <a:r>
                        <a:rPr lang="sv-SE" dirty="0"/>
                        <a:t>Data flow</a:t>
                      </a:r>
                    </a:p>
                  </a:txBody>
                  <a:tcPr/>
                </a:tc>
                <a:tc>
                  <a:txBody>
                    <a:bodyPr/>
                    <a:lstStyle/>
                    <a:p>
                      <a:r>
                        <a:rPr lang="sv-SE" dirty="0"/>
                        <a:t>Two-way (from device app to solution backend)</a:t>
                      </a:r>
                    </a:p>
                  </a:txBody>
                  <a:tcPr/>
                </a:tc>
                <a:tc>
                  <a:txBody>
                    <a:bodyPr/>
                    <a:lstStyle/>
                    <a:p>
                      <a:r>
                        <a:rPr lang="sv-SE" dirty="0"/>
                        <a:t>One-way</a:t>
                      </a:r>
                      <a:r>
                        <a:rPr lang="sv-SE" baseline="0" dirty="0"/>
                        <a:t> (device app receives notification with property change)</a:t>
                      </a:r>
                      <a:endParaRPr lang="sv-SE" dirty="0"/>
                    </a:p>
                  </a:txBody>
                  <a:tcPr/>
                </a:tc>
                <a:tc>
                  <a:txBody>
                    <a:bodyPr/>
                    <a:lstStyle/>
                    <a:p>
                      <a:r>
                        <a:rPr lang="sv-SE" dirty="0"/>
                        <a:t>One-way (device app receieves</a:t>
                      </a:r>
                      <a:r>
                        <a:rPr lang="sv-SE" baseline="0" dirty="0"/>
                        <a:t> the message)</a:t>
                      </a:r>
                      <a:endParaRPr lang="sv-SE" dirty="0"/>
                    </a:p>
                  </a:txBody>
                  <a:tcPr/>
                </a:tc>
                <a:extLst>
                  <a:ext uri="{0D108BD9-81ED-4DB2-BD59-A6C34878D82A}">
                    <a16:rowId xmlns:a16="http://schemas.microsoft.com/office/drawing/2014/main" val="3398154563"/>
                  </a:ext>
                </a:extLst>
              </a:tr>
              <a:tr h="517558">
                <a:tc>
                  <a:txBody>
                    <a:bodyPr/>
                    <a:lstStyle/>
                    <a:p>
                      <a:r>
                        <a:rPr lang="sv-SE" dirty="0"/>
                        <a:t>Durability</a:t>
                      </a:r>
                    </a:p>
                  </a:txBody>
                  <a:tcPr/>
                </a:tc>
                <a:tc>
                  <a:txBody>
                    <a:bodyPr/>
                    <a:lstStyle/>
                    <a:p>
                      <a:r>
                        <a:rPr lang="sv-SE" dirty="0"/>
                        <a:t>Disconnected devices missed</a:t>
                      </a:r>
                    </a:p>
                  </a:txBody>
                  <a:tcPr/>
                </a:tc>
                <a:tc>
                  <a:txBody>
                    <a:bodyPr/>
                    <a:lstStyle/>
                    <a:p>
                      <a:r>
                        <a:rPr lang="sv-SE" dirty="0"/>
                        <a:t>Preserved in device twin</a:t>
                      </a:r>
                      <a:r>
                        <a:rPr lang="sv-SE" baseline="0" dirty="0"/>
                        <a:t> (disconnected device reads upon reconnection)</a:t>
                      </a:r>
                      <a:endParaRPr lang="sv-SE" dirty="0"/>
                    </a:p>
                  </a:txBody>
                  <a:tcPr/>
                </a:tc>
                <a:tc>
                  <a:txBody>
                    <a:bodyPr/>
                    <a:lstStyle/>
                    <a:p>
                      <a:r>
                        <a:rPr lang="sv-SE" dirty="0"/>
                        <a:t>48 hours</a:t>
                      </a:r>
                    </a:p>
                  </a:txBody>
                  <a:tcPr/>
                </a:tc>
                <a:extLst>
                  <a:ext uri="{0D108BD9-81ED-4DB2-BD59-A6C34878D82A}">
                    <a16:rowId xmlns:a16="http://schemas.microsoft.com/office/drawing/2014/main" val="2762866165"/>
                  </a:ext>
                </a:extLst>
              </a:tr>
              <a:tr h="517579">
                <a:tc>
                  <a:txBody>
                    <a:bodyPr/>
                    <a:lstStyle/>
                    <a:p>
                      <a:r>
                        <a:rPr lang="sv-SE" dirty="0"/>
                        <a:t>Target</a:t>
                      </a:r>
                    </a:p>
                  </a:txBody>
                  <a:tcPr/>
                </a:tc>
                <a:tc>
                  <a:txBody>
                    <a:bodyPr/>
                    <a:lstStyle/>
                    <a:p>
                      <a:r>
                        <a:rPr lang="sv-SE" dirty="0"/>
                        <a:t>Single</a:t>
                      </a:r>
                      <a:r>
                        <a:rPr lang="sv-SE" baseline="0" dirty="0"/>
                        <a:t> device (deviceId), Jobs for broadcast</a:t>
                      </a:r>
                      <a:endParaRPr lang="sv-SE" dirty="0"/>
                    </a:p>
                  </a:txBody>
                  <a:tcPr/>
                </a:tc>
                <a:tc>
                  <a:txBody>
                    <a:bodyPr/>
                    <a:lstStyle/>
                    <a:p>
                      <a:pPr marL="0" marR="0" lvl="0" indent="0" algn="l" defTabSz="932384" rtl="0" eaLnBrk="1" fontAlgn="auto" latinLnBrk="0" hangingPunct="1">
                        <a:lnSpc>
                          <a:spcPct val="100000"/>
                        </a:lnSpc>
                        <a:spcBef>
                          <a:spcPts val="0"/>
                        </a:spcBef>
                        <a:spcAft>
                          <a:spcPts val="0"/>
                        </a:spcAft>
                        <a:buClrTx/>
                        <a:buSzTx/>
                        <a:buFontTx/>
                        <a:buNone/>
                        <a:tabLst/>
                        <a:defRPr/>
                      </a:pPr>
                      <a:r>
                        <a:rPr lang="sv-SE" dirty="0"/>
                        <a:t>Single</a:t>
                      </a:r>
                      <a:r>
                        <a:rPr lang="sv-SE" baseline="0" dirty="0"/>
                        <a:t> device (deviceId), Jobs for broadcast</a:t>
                      </a:r>
                      <a:endParaRPr lang="sv-SE" dirty="0"/>
                    </a:p>
                  </a:txBody>
                  <a:tcPr/>
                </a:tc>
                <a:tc>
                  <a:txBody>
                    <a:bodyPr/>
                    <a:lstStyle/>
                    <a:p>
                      <a:r>
                        <a:rPr lang="sv-SE" dirty="0"/>
                        <a:t>Single device (deviceId)</a:t>
                      </a:r>
                    </a:p>
                  </a:txBody>
                  <a:tcPr/>
                </a:tc>
                <a:extLst>
                  <a:ext uri="{0D108BD9-81ED-4DB2-BD59-A6C34878D82A}">
                    <a16:rowId xmlns:a16="http://schemas.microsoft.com/office/drawing/2014/main" val="4158861336"/>
                  </a:ext>
                </a:extLst>
              </a:tr>
              <a:tr h="479585">
                <a:tc>
                  <a:txBody>
                    <a:bodyPr/>
                    <a:lstStyle/>
                    <a:p>
                      <a:r>
                        <a:rPr lang="sv-SE" dirty="0"/>
                        <a:t>Frequency</a:t>
                      </a:r>
                    </a:p>
                  </a:txBody>
                  <a:tcPr/>
                </a:tc>
                <a:tc>
                  <a:txBody>
                    <a:bodyPr/>
                    <a:lstStyle/>
                    <a:p>
                      <a:r>
                        <a:rPr lang="sv-SE" dirty="0"/>
                        <a:t>High</a:t>
                      </a:r>
                    </a:p>
                  </a:txBody>
                  <a:tcPr/>
                </a:tc>
                <a:tc>
                  <a:txBody>
                    <a:bodyPr/>
                    <a:lstStyle/>
                    <a:p>
                      <a:r>
                        <a:rPr lang="sv-SE" dirty="0"/>
                        <a:t>Medium</a:t>
                      </a:r>
                    </a:p>
                  </a:txBody>
                  <a:tcPr/>
                </a:tc>
                <a:tc>
                  <a:txBody>
                    <a:bodyPr/>
                    <a:lstStyle/>
                    <a:p>
                      <a:r>
                        <a:rPr lang="sv-SE" dirty="0"/>
                        <a:t>Low</a:t>
                      </a:r>
                    </a:p>
                  </a:txBody>
                  <a:tcPr/>
                </a:tc>
                <a:extLst>
                  <a:ext uri="{0D108BD9-81ED-4DB2-BD59-A6C34878D82A}">
                    <a16:rowId xmlns:a16="http://schemas.microsoft.com/office/drawing/2014/main" val="944323335"/>
                  </a:ext>
                </a:extLst>
              </a:tr>
              <a:tr h="776369">
                <a:tc>
                  <a:txBody>
                    <a:bodyPr/>
                    <a:lstStyle/>
                    <a:p>
                      <a:r>
                        <a:rPr lang="sv-SE" dirty="0"/>
                        <a:t>Size</a:t>
                      </a:r>
                    </a:p>
                  </a:txBody>
                  <a:tcPr/>
                </a:tc>
                <a:tc>
                  <a:txBody>
                    <a:bodyPr/>
                    <a:lstStyle/>
                    <a:p>
                      <a:r>
                        <a:rPr lang="sv-SE" dirty="0"/>
                        <a:t>8 KB (request &amp; response)</a:t>
                      </a:r>
                    </a:p>
                  </a:txBody>
                  <a:tcPr/>
                </a:tc>
                <a:tc>
                  <a:txBody>
                    <a:bodyPr/>
                    <a:lstStyle/>
                    <a:p>
                      <a:r>
                        <a:rPr lang="sv-SE" dirty="0"/>
                        <a:t>8 KB</a:t>
                      </a:r>
                    </a:p>
                  </a:txBody>
                  <a:tcPr/>
                </a:tc>
                <a:tc>
                  <a:txBody>
                    <a:bodyPr/>
                    <a:lstStyle/>
                    <a:p>
                      <a:r>
                        <a:rPr lang="sv-SE" dirty="0"/>
                        <a:t>64 KB</a:t>
                      </a:r>
                    </a:p>
                  </a:txBody>
                  <a:tcPr/>
                </a:tc>
                <a:extLst>
                  <a:ext uri="{0D108BD9-81ED-4DB2-BD59-A6C34878D82A}">
                    <a16:rowId xmlns:a16="http://schemas.microsoft.com/office/drawing/2014/main" val="3878237865"/>
                  </a:ext>
                </a:extLst>
              </a:tr>
            </a:tbl>
          </a:graphicData>
        </a:graphic>
      </p:graphicFrame>
    </p:spTree>
    <p:extLst>
      <p:ext uri="{BB962C8B-B14F-4D97-AF65-F5344CB8AC3E}">
        <p14:creationId xmlns:p14="http://schemas.microsoft.com/office/powerpoint/2010/main" val="27342240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IoT Hub endpoints</a:t>
            </a:r>
          </a:p>
        </p:txBody>
      </p:sp>
      <p:sp>
        <p:nvSpPr>
          <p:cNvPr id="19" name="device"/>
          <p:cNvSpPr/>
          <p:nvPr/>
        </p:nvSpPr>
        <p:spPr bwMode="auto">
          <a:xfrm>
            <a:off x="1097653" y="2930880"/>
            <a:ext cx="1340612" cy="137156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400" dirty="0">
                <a:solidFill>
                  <a:schemeClr val="tx1"/>
                </a:solidFill>
                <a:latin typeface="Segoe UI Semibold" panose="020B0702040204020203" pitchFamily="34" charset="0"/>
                <a:ea typeface="Segoe UI" pitchFamily="34" charset="0"/>
                <a:cs typeface="Segoe UI" pitchFamily="34" charset="0"/>
              </a:rPr>
              <a:t>device</a:t>
            </a:r>
          </a:p>
        </p:txBody>
      </p:sp>
      <p:sp>
        <p:nvSpPr>
          <p:cNvPr id="25" name="Event processing"/>
          <p:cNvSpPr/>
          <p:nvPr/>
        </p:nvSpPr>
        <p:spPr>
          <a:xfrm>
            <a:off x="9071468" y="2400150"/>
            <a:ext cx="2889425" cy="762012"/>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400" dirty="0">
                <a:solidFill>
                  <a:schemeClr val="tx1"/>
                </a:solidFill>
                <a:latin typeface="Segoe UI Semibold" panose="020B0702040204020203" pitchFamily="34" charset="0"/>
                <a:ea typeface="Segoe UI" pitchFamily="34" charset="0"/>
                <a:cs typeface="Segoe UI" pitchFamily="34" charset="0"/>
              </a:rPr>
              <a:t>Event processing</a:t>
            </a:r>
          </a:p>
          <a:p>
            <a:pPr defTabSz="913748" eaLnBrk="1" hangingPunct="1">
              <a:lnSpc>
                <a:spcPct val="90000"/>
              </a:lnSpc>
              <a:spcAft>
                <a:spcPts val="0"/>
              </a:spcAft>
            </a:pPr>
            <a:r>
              <a:rPr lang="en-US" sz="1400" dirty="0">
                <a:solidFill>
                  <a:schemeClr val="tx1"/>
                </a:solidFill>
                <a:latin typeface="Segoe UI Semibold" panose="020B0702040204020203" pitchFamily="34" charset="0"/>
                <a:ea typeface="Segoe UI" pitchFamily="34" charset="0"/>
                <a:cs typeface="Segoe UI" pitchFamily="34" charset="0"/>
              </a:rPr>
              <a:t>(hot and cold path)</a:t>
            </a:r>
          </a:p>
        </p:txBody>
      </p:sp>
      <p:sp>
        <p:nvSpPr>
          <p:cNvPr id="27" name="Device provisioning"/>
          <p:cNvSpPr/>
          <p:nvPr/>
        </p:nvSpPr>
        <p:spPr>
          <a:xfrm>
            <a:off x="9071468" y="5188642"/>
            <a:ext cx="2889425" cy="78718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400" dirty="0">
                <a:solidFill>
                  <a:schemeClr val="tx1"/>
                </a:solidFill>
                <a:latin typeface="Segoe UI Semibold" panose="020B0702040204020203" pitchFamily="34" charset="0"/>
                <a:ea typeface="Segoe UI" pitchFamily="34" charset="0"/>
                <a:cs typeface="Segoe UI" pitchFamily="34" charset="0"/>
              </a:rPr>
              <a:t>Device provisioning </a:t>
            </a:r>
            <a:br>
              <a:rPr lang="en-US" sz="1400" dirty="0">
                <a:solidFill>
                  <a:schemeClr val="tx1"/>
                </a:solidFill>
                <a:latin typeface="Segoe UI Semibold" panose="020B0702040204020203" pitchFamily="34" charset="0"/>
                <a:ea typeface="Segoe UI" pitchFamily="34" charset="0"/>
                <a:cs typeface="Segoe UI" pitchFamily="34" charset="0"/>
              </a:rPr>
            </a:br>
            <a:r>
              <a:rPr lang="en-US" sz="1400" dirty="0">
                <a:solidFill>
                  <a:schemeClr val="tx1"/>
                </a:solidFill>
                <a:latin typeface="Segoe UI Semibold" panose="020B0702040204020203" pitchFamily="34" charset="0"/>
                <a:ea typeface="Segoe UI" pitchFamily="34" charset="0"/>
                <a:cs typeface="Segoe UI" pitchFamily="34" charset="0"/>
              </a:rPr>
              <a:t>and management</a:t>
            </a:r>
          </a:p>
        </p:txBody>
      </p:sp>
      <p:sp>
        <p:nvSpPr>
          <p:cNvPr id="7" name="IoT Hub"/>
          <p:cNvSpPr/>
          <p:nvPr/>
        </p:nvSpPr>
        <p:spPr bwMode="auto">
          <a:xfrm>
            <a:off x="3639983" y="2308724"/>
            <a:ext cx="4205598" cy="366710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t" anchorCtr="0" forceAA="0" compatLnSpc="1">
            <a:prstTxWarp prst="textNoShape">
              <a:avLst/>
            </a:prstTxWarp>
            <a:noAutofit/>
          </a:bodyPr>
          <a:lstStyle/>
          <a:p>
            <a:pPr defTabSz="913748" eaLnBrk="1" hangingPunct="1">
              <a:lnSpc>
                <a:spcPct val="90000"/>
              </a:lnSpc>
              <a:spcAft>
                <a:spcPts val="0"/>
              </a:spcAft>
            </a:pPr>
            <a:r>
              <a:rPr lang="en-US" dirty="0">
                <a:solidFill>
                  <a:schemeClr val="tx1"/>
                </a:solidFill>
                <a:latin typeface="Segoe UI Semibold" panose="020B0702040204020203" pitchFamily="34" charset="0"/>
                <a:ea typeface="Segoe UI" pitchFamily="34" charset="0"/>
                <a:cs typeface="Segoe UI" pitchFamily="34" charset="0"/>
              </a:rPr>
              <a:t>Your IoT Hub</a:t>
            </a:r>
          </a:p>
        </p:txBody>
      </p:sp>
      <p:grpSp>
        <p:nvGrpSpPr>
          <p:cNvPr id="11" name="Device … 1"/>
          <p:cNvGrpSpPr/>
          <p:nvPr/>
        </p:nvGrpSpPr>
        <p:grpSpPr>
          <a:xfrm>
            <a:off x="3548558" y="2857280"/>
            <a:ext cx="1371391" cy="1554243"/>
            <a:chOff x="1829165" y="3680140"/>
            <a:chExt cx="1371585" cy="1554464"/>
          </a:xfrm>
        </p:grpSpPr>
        <p:sp>
          <p:nvSpPr>
            <p:cNvPr id="8" name="Rectangle 7"/>
            <p:cNvSpPr/>
            <p:nvPr/>
          </p:nvSpPr>
          <p:spPr bwMode="auto">
            <a:xfrm>
              <a:off x="1829165" y="3680140"/>
              <a:ext cx="1371585" cy="155446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latin typeface="Segoe UI Semibold" panose="020B0702040204020203" pitchFamily="34" charset="0"/>
                  <a:ea typeface="Segoe UI" pitchFamily="34" charset="0"/>
                  <a:cs typeface="Segoe UI" pitchFamily="34" charset="0"/>
                </a:rPr>
                <a:t>Device id</a:t>
              </a:r>
            </a:p>
          </p:txBody>
        </p:sp>
        <p:sp>
          <p:nvSpPr>
            <p:cNvPr id="9" name="Rectangle 8"/>
            <p:cNvSpPr/>
            <p:nvPr/>
          </p:nvSpPr>
          <p:spPr bwMode="auto">
            <a:xfrm>
              <a:off x="2012042" y="4340636"/>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a:ea typeface="+mn-ea"/>
                  <a:cs typeface="+mn-cs"/>
                </a:rPr>
                <a:t>C2D queue</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a:ea typeface="+mn-ea"/>
                  <a:cs typeface="+mn-cs"/>
                </a:rPr>
                <a:t>endpoint</a:t>
              </a:r>
            </a:p>
          </p:txBody>
        </p:sp>
        <p:sp>
          <p:nvSpPr>
            <p:cNvPr id="10" name="Rectangle 9"/>
            <p:cNvSpPr/>
            <p:nvPr/>
          </p:nvSpPr>
          <p:spPr bwMode="auto">
            <a:xfrm>
              <a:off x="2012041" y="3792002"/>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a:ea typeface="+mn-ea"/>
                  <a:cs typeface="+mn-cs"/>
                </a:rPr>
                <a:t>D2C send endpoint</a:t>
              </a:r>
            </a:p>
          </p:txBody>
        </p:sp>
      </p:grpSp>
      <p:sp>
        <p:nvSpPr>
          <p:cNvPr id="12" name="Device … 2"/>
          <p:cNvSpPr/>
          <p:nvPr/>
        </p:nvSpPr>
        <p:spPr bwMode="auto">
          <a:xfrm>
            <a:off x="3548558" y="4594375"/>
            <a:ext cx="1371391" cy="36570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latin typeface="Segoe UI Semibold" panose="020B0702040204020203" pitchFamily="34" charset="0"/>
                <a:ea typeface="Segoe UI" pitchFamily="34" charset="0"/>
                <a:cs typeface="Segoe UI" pitchFamily="34" charset="0"/>
              </a:rPr>
              <a:t>Device …</a:t>
            </a:r>
          </a:p>
        </p:txBody>
      </p:sp>
      <p:sp>
        <p:nvSpPr>
          <p:cNvPr id="13" name="Device …3"/>
          <p:cNvSpPr/>
          <p:nvPr/>
        </p:nvSpPr>
        <p:spPr bwMode="auto">
          <a:xfrm>
            <a:off x="3548558" y="5076571"/>
            <a:ext cx="1371391" cy="36570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latin typeface="Segoe UI Semibold" panose="020B0702040204020203" pitchFamily="34" charset="0"/>
                <a:ea typeface="Segoe UI" pitchFamily="34" charset="0"/>
                <a:cs typeface="Segoe UI" pitchFamily="34" charset="0"/>
              </a:rPr>
              <a:t>Device …</a:t>
            </a:r>
          </a:p>
        </p:txBody>
      </p:sp>
      <p:sp>
        <p:nvSpPr>
          <p:cNvPr id="14" name="Device …4"/>
          <p:cNvSpPr/>
          <p:nvPr/>
        </p:nvSpPr>
        <p:spPr bwMode="auto">
          <a:xfrm>
            <a:off x="3548555" y="5517635"/>
            <a:ext cx="1371391" cy="36570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latin typeface="Segoe UI Semibold" panose="020B0702040204020203" pitchFamily="34" charset="0"/>
                <a:ea typeface="Segoe UI" pitchFamily="34" charset="0"/>
                <a:cs typeface="Segoe UI" pitchFamily="34" charset="0"/>
              </a:rPr>
              <a:t>Device …</a:t>
            </a:r>
          </a:p>
        </p:txBody>
      </p:sp>
      <p:sp>
        <p:nvSpPr>
          <p:cNvPr id="15" name="D2C receive endpoint"/>
          <p:cNvSpPr/>
          <p:nvPr/>
        </p:nvSpPr>
        <p:spPr bwMode="auto">
          <a:xfrm>
            <a:off x="6565617" y="2857280"/>
            <a:ext cx="1371391" cy="85567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latin typeface="Segoe UI Semibold" panose="020B0702040204020203" pitchFamily="34" charset="0"/>
                <a:ea typeface="Segoe UI" pitchFamily="34" charset="0"/>
                <a:cs typeface="Segoe UI" pitchFamily="34" charset="0"/>
              </a:rPr>
              <a:t>D2C receive endpoint</a:t>
            </a:r>
          </a:p>
        </p:txBody>
      </p:sp>
      <p:sp>
        <p:nvSpPr>
          <p:cNvPr id="16" name="C2D send endpoint"/>
          <p:cNvSpPr/>
          <p:nvPr/>
        </p:nvSpPr>
        <p:spPr bwMode="auto">
          <a:xfrm>
            <a:off x="6565617" y="3771539"/>
            <a:ext cx="1371391" cy="593382"/>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latin typeface="Segoe UI Semibold" panose="020B0702040204020203" pitchFamily="34" charset="0"/>
                <a:ea typeface="Segoe UI" pitchFamily="34" charset="0"/>
                <a:cs typeface="Segoe UI" pitchFamily="34" charset="0"/>
              </a:rPr>
              <a:t>C2D send endpoint</a:t>
            </a:r>
          </a:p>
        </p:txBody>
      </p:sp>
      <p:sp>
        <p:nvSpPr>
          <p:cNvPr id="17" name="Msg feedback"/>
          <p:cNvSpPr/>
          <p:nvPr/>
        </p:nvSpPr>
        <p:spPr bwMode="auto">
          <a:xfrm>
            <a:off x="6565616" y="4411524"/>
            <a:ext cx="1371391" cy="77711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err="1">
                <a:solidFill>
                  <a:schemeClr val="tx1"/>
                </a:solidFill>
                <a:latin typeface="Segoe UI Semibold" panose="020B0702040204020203" pitchFamily="34" charset="0"/>
                <a:ea typeface="Segoe UI" pitchFamily="34" charset="0"/>
                <a:cs typeface="Segoe UI" pitchFamily="34" charset="0"/>
              </a:rPr>
              <a:t>Msg</a:t>
            </a:r>
            <a:r>
              <a:rPr lang="en-US" sz="1100" dirty="0">
                <a:solidFill>
                  <a:schemeClr val="tx1"/>
                </a:solidFill>
                <a:latin typeface="Segoe UI Semibold" panose="020B0702040204020203" pitchFamily="34" charset="0"/>
                <a:ea typeface="Segoe UI" pitchFamily="34" charset="0"/>
                <a:cs typeface="Segoe UI" pitchFamily="34" charset="0"/>
              </a:rPr>
              <a:t> feedback </a:t>
            </a:r>
            <a:br>
              <a:rPr lang="en-US" sz="1100" dirty="0">
                <a:solidFill>
                  <a:schemeClr val="tx1"/>
                </a:solidFill>
                <a:latin typeface="Segoe UI Semibold" panose="020B0702040204020203" pitchFamily="34" charset="0"/>
                <a:ea typeface="Segoe UI" pitchFamily="34" charset="0"/>
                <a:cs typeface="Segoe UI" pitchFamily="34" charset="0"/>
              </a:rPr>
            </a:br>
            <a:r>
              <a:rPr lang="en-US" sz="1100" dirty="0">
                <a:solidFill>
                  <a:schemeClr val="tx1"/>
                </a:solidFill>
                <a:latin typeface="Segoe UI Semibold" panose="020B0702040204020203" pitchFamily="34" charset="0"/>
                <a:ea typeface="Segoe UI" pitchFamily="34" charset="0"/>
                <a:cs typeface="Segoe UI" pitchFamily="34" charset="0"/>
              </a:rPr>
              <a:t>and monitoring endpoint</a:t>
            </a:r>
          </a:p>
        </p:txBody>
      </p:sp>
      <p:sp>
        <p:nvSpPr>
          <p:cNvPr id="28" name="Device identity management"/>
          <p:cNvSpPr/>
          <p:nvPr/>
        </p:nvSpPr>
        <p:spPr bwMode="auto">
          <a:xfrm>
            <a:off x="6565615" y="5259423"/>
            <a:ext cx="1371391" cy="64165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latin typeface="Segoe UI Semibold" panose="020B0702040204020203" pitchFamily="34" charset="0"/>
                <a:ea typeface="Segoe UI" pitchFamily="34" charset="0"/>
                <a:cs typeface="Segoe UI" pitchFamily="34" charset="0"/>
              </a:rPr>
              <a:t>Device identity management</a:t>
            </a:r>
          </a:p>
        </p:txBody>
      </p:sp>
      <p:sp>
        <p:nvSpPr>
          <p:cNvPr id="29" name="IoT Hub management"/>
          <p:cNvSpPr/>
          <p:nvPr/>
        </p:nvSpPr>
        <p:spPr bwMode="auto">
          <a:xfrm>
            <a:off x="5059305" y="5442276"/>
            <a:ext cx="1371391" cy="64165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latin typeface="Segoe UI Semibold" panose="020B0702040204020203" pitchFamily="34" charset="0"/>
                <a:ea typeface="Segoe UI" pitchFamily="34" charset="0"/>
                <a:cs typeface="Segoe UI" pitchFamily="34" charset="0"/>
              </a:rPr>
              <a:t>IoT Hub management</a:t>
            </a:r>
          </a:p>
        </p:txBody>
      </p:sp>
      <p:cxnSp>
        <p:nvCxnSpPr>
          <p:cNvPr id="90" name="Straight Arrow Connector 89"/>
          <p:cNvCxnSpPr/>
          <p:nvPr/>
        </p:nvCxnSpPr>
        <p:spPr>
          <a:xfrm>
            <a:off x="2524485" y="3174869"/>
            <a:ext cx="950582" cy="0"/>
          </a:xfrm>
          <a:prstGeom prst="straightConnector1">
            <a:avLst/>
          </a:prstGeom>
          <a:ln w="38100">
            <a:solidFill>
              <a:srgbClr val="777777"/>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grpSp>
        <p:nvGrpSpPr>
          <p:cNvPr id="31" name="Event processing"/>
          <p:cNvGrpSpPr/>
          <p:nvPr/>
        </p:nvGrpSpPr>
        <p:grpSpPr>
          <a:xfrm>
            <a:off x="11247383" y="2484601"/>
            <a:ext cx="548634" cy="555461"/>
            <a:chOff x="3876323" y="2412935"/>
            <a:chExt cx="981584" cy="1503227"/>
          </a:xfrm>
        </p:grpSpPr>
        <p:grpSp>
          <p:nvGrpSpPr>
            <p:cNvPr id="32" name="Group 31"/>
            <p:cNvGrpSpPr/>
            <p:nvPr/>
          </p:nvGrpSpPr>
          <p:grpSpPr>
            <a:xfrm>
              <a:off x="4075337" y="2655193"/>
              <a:ext cx="640701" cy="978962"/>
              <a:chOff x="3978978" y="2691315"/>
              <a:chExt cx="745467" cy="1374671"/>
            </a:xfrm>
          </p:grpSpPr>
          <p:sp>
            <p:nvSpPr>
              <p:cNvPr id="35" name="Rectangle 34"/>
              <p:cNvSpPr/>
              <p:nvPr>
                <p:custDataLst>
                  <p:tags r:id="rId7"/>
                </p:custDataLst>
              </p:nvPr>
            </p:nvSpPr>
            <p:spPr bwMode="auto">
              <a:xfrm>
                <a:off x="3978978" y="269131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36" name="Rectangle 35"/>
              <p:cNvSpPr/>
              <p:nvPr>
                <p:custDataLst>
                  <p:tags r:id="rId8"/>
                </p:custDataLst>
              </p:nvPr>
            </p:nvSpPr>
            <p:spPr bwMode="auto">
              <a:xfrm>
                <a:off x="4269686" y="2945333"/>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37" name="Rectangle 36"/>
              <p:cNvSpPr/>
              <p:nvPr>
                <p:custDataLst>
                  <p:tags r:id="rId9"/>
                </p:custDataLst>
              </p:nvPr>
            </p:nvSpPr>
            <p:spPr bwMode="auto">
              <a:xfrm>
                <a:off x="3978978" y="3195771"/>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38" name="Rectangle 37"/>
              <p:cNvSpPr/>
              <p:nvPr>
                <p:custDataLst>
                  <p:tags r:id="rId10"/>
                </p:custDataLst>
              </p:nvPr>
            </p:nvSpPr>
            <p:spPr bwMode="auto">
              <a:xfrm>
                <a:off x="4269686" y="3482449"/>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39" name="Rectangle 38"/>
              <p:cNvSpPr/>
              <p:nvPr>
                <p:custDataLst>
                  <p:tags r:id="rId11"/>
                </p:custDataLst>
              </p:nvPr>
            </p:nvSpPr>
            <p:spPr bwMode="auto">
              <a:xfrm>
                <a:off x="3978978" y="3700226"/>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40" name="Rectangle 39"/>
              <p:cNvSpPr/>
              <p:nvPr>
                <p:custDataLst>
                  <p:tags r:id="rId12"/>
                </p:custDataLst>
              </p:nvPr>
            </p:nvSpPr>
            <p:spPr bwMode="auto">
              <a:xfrm>
                <a:off x="4541565" y="319435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33" name="Freeform 32"/>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4" name="Freeform 33"/>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cxnSp>
        <p:nvCxnSpPr>
          <p:cNvPr id="53" name="Straight Arrow Connector 52"/>
          <p:cNvCxnSpPr/>
          <p:nvPr/>
        </p:nvCxnSpPr>
        <p:spPr>
          <a:xfrm>
            <a:off x="2524485" y="3712950"/>
            <a:ext cx="950582" cy="0"/>
          </a:xfrm>
          <a:prstGeom prst="straightConnector1">
            <a:avLst/>
          </a:prstGeom>
          <a:ln w="38100">
            <a:solidFill>
              <a:srgbClr val="777777"/>
            </a:solidFill>
            <a:headEnd type="triangle"/>
            <a:tailEnd type="none"/>
          </a:ln>
        </p:spPr>
        <p:style>
          <a:lnRef idx="2">
            <a:schemeClr val="accent1"/>
          </a:lnRef>
          <a:fillRef idx="0">
            <a:schemeClr val="accent1"/>
          </a:fillRef>
          <a:effectRef idx="1">
            <a:schemeClr val="accent1"/>
          </a:effectRef>
          <a:fontRef idx="minor">
            <a:schemeClr val="tx1"/>
          </a:fontRef>
        </p:style>
      </p:cxnSp>
      <p:cxnSp>
        <p:nvCxnSpPr>
          <p:cNvPr id="54" name="Straight Arrow Connector 53"/>
          <p:cNvCxnSpPr/>
          <p:nvPr/>
        </p:nvCxnSpPr>
        <p:spPr>
          <a:xfrm>
            <a:off x="2524485" y="4788547"/>
            <a:ext cx="950582"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5" name="Straight Arrow Connector 54"/>
          <p:cNvCxnSpPr/>
          <p:nvPr/>
        </p:nvCxnSpPr>
        <p:spPr>
          <a:xfrm>
            <a:off x="2524485" y="5279246"/>
            <a:ext cx="950582"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6" name="Straight Arrow Connector 55"/>
          <p:cNvCxnSpPr/>
          <p:nvPr/>
        </p:nvCxnSpPr>
        <p:spPr>
          <a:xfrm>
            <a:off x="2524485" y="5763103"/>
            <a:ext cx="950582"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7" name="Straight Arrow Connector 56"/>
          <p:cNvCxnSpPr/>
          <p:nvPr/>
        </p:nvCxnSpPr>
        <p:spPr>
          <a:xfrm flipH="1">
            <a:off x="8047017" y="3131506"/>
            <a:ext cx="950582" cy="0"/>
          </a:xfrm>
          <a:prstGeom prst="straightConnector1">
            <a:avLst/>
          </a:prstGeom>
          <a:ln w="38100">
            <a:solidFill>
              <a:srgbClr val="777777"/>
            </a:solidFill>
            <a:headEnd type="triangle"/>
            <a:tailEnd type="none"/>
          </a:ln>
        </p:spPr>
        <p:style>
          <a:lnRef idx="2">
            <a:schemeClr val="accent1"/>
          </a:lnRef>
          <a:fillRef idx="0">
            <a:schemeClr val="accent1"/>
          </a:fillRef>
          <a:effectRef idx="1">
            <a:schemeClr val="accent1"/>
          </a:effectRef>
          <a:fontRef idx="minor">
            <a:schemeClr val="tx1"/>
          </a:fontRef>
        </p:style>
      </p:cxnSp>
      <p:cxnSp>
        <p:nvCxnSpPr>
          <p:cNvPr id="58" name="Straight Arrow Connector 57"/>
          <p:cNvCxnSpPr/>
          <p:nvPr/>
        </p:nvCxnSpPr>
        <p:spPr>
          <a:xfrm flipH="1">
            <a:off x="8047017" y="3539704"/>
            <a:ext cx="950582" cy="0"/>
          </a:xfrm>
          <a:prstGeom prst="straightConnector1">
            <a:avLst/>
          </a:prstGeom>
          <a:ln w="38100">
            <a:solidFill>
              <a:srgbClr val="777777"/>
            </a:solidFill>
            <a:headEnd type="triangle"/>
            <a:tailEnd type="none"/>
          </a:ln>
        </p:spPr>
        <p:style>
          <a:lnRef idx="2">
            <a:schemeClr val="accent1"/>
          </a:lnRef>
          <a:fillRef idx="0">
            <a:schemeClr val="accent1"/>
          </a:fillRef>
          <a:effectRef idx="1">
            <a:schemeClr val="accent1"/>
          </a:effectRef>
          <a:fontRef idx="minor">
            <a:schemeClr val="tx1"/>
          </a:fontRef>
        </p:style>
      </p:cxnSp>
      <p:cxnSp>
        <p:nvCxnSpPr>
          <p:cNvPr id="59" name="Straight Arrow Connector 58"/>
          <p:cNvCxnSpPr/>
          <p:nvPr/>
        </p:nvCxnSpPr>
        <p:spPr>
          <a:xfrm flipH="1">
            <a:off x="8047017" y="4149056"/>
            <a:ext cx="950582" cy="0"/>
          </a:xfrm>
          <a:prstGeom prst="straightConnector1">
            <a:avLst/>
          </a:prstGeom>
          <a:ln w="38100">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60" name="Straight Arrow Connector 59"/>
          <p:cNvCxnSpPr/>
          <p:nvPr/>
        </p:nvCxnSpPr>
        <p:spPr>
          <a:xfrm flipH="1">
            <a:off x="8047017" y="4715800"/>
            <a:ext cx="950582" cy="0"/>
          </a:xfrm>
          <a:prstGeom prst="straightConnector1">
            <a:avLst/>
          </a:prstGeom>
          <a:ln w="38100">
            <a:solidFill>
              <a:srgbClr val="777777"/>
            </a:solidFill>
            <a:headEnd type="triangle"/>
            <a:tailEnd type="none"/>
          </a:ln>
        </p:spPr>
        <p:style>
          <a:lnRef idx="2">
            <a:schemeClr val="accent1"/>
          </a:lnRef>
          <a:fillRef idx="0">
            <a:schemeClr val="accent1"/>
          </a:fillRef>
          <a:effectRef idx="1">
            <a:schemeClr val="accent1"/>
          </a:effectRef>
          <a:fontRef idx="minor">
            <a:schemeClr val="tx1"/>
          </a:fontRef>
        </p:style>
      </p:cxnSp>
      <p:cxnSp>
        <p:nvCxnSpPr>
          <p:cNvPr id="61" name="Straight Arrow Connector 60"/>
          <p:cNvCxnSpPr/>
          <p:nvPr/>
        </p:nvCxnSpPr>
        <p:spPr>
          <a:xfrm flipH="1">
            <a:off x="8047017" y="5719740"/>
            <a:ext cx="950582"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grpSp>
        <p:nvGrpSpPr>
          <p:cNvPr id="47" name="Device … 2"/>
          <p:cNvGrpSpPr/>
          <p:nvPr/>
        </p:nvGrpSpPr>
        <p:grpSpPr>
          <a:xfrm>
            <a:off x="4596994" y="4619455"/>
            <a:ext cx="190516" cy="315544"/>
            <a:chOff x="4593735" y="4663834"/>
            <a:chExt cx="152594" cy="252735"/>
          </a:xfrm>
        </p:grpSpPr>
        <p:sp>
          <p:nvSpPr>
            <p:cNvPr id="73" name="Freeform 13"/>
            <p:cNvSpPr>
              <a:spLocks noEditPoints="1"/>
            </p:cNvSpPr>
            <p:nvPr/>
          </p:nvSpPr>
          <p:spPr bwMode="auto">
            <a:xfrm>
              <a:off x="4593735" y="4663834"/>
              <a:ext cx="128641" cy="86722"/>
            </a:xfrm>
            <a:prstGeom prst="frame">
              <a:avLst/>
            </a:prstGeom>
            <a:solidFill>
              <a:srgbClr val="86BE0E"/>
            </a:solidFill>
            <a:ln>
              <a:noFill/>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74" name="Freeform 15"/>
            <p:cNvSpPr>
              <a:spLocks/>
            </p:cNvSpPr>
            <p:nvPr/>
          </p:nvSpPr>
          <p:spPr bwMode="auto">
            <a:xfrm>
              <a:off x="4593735" y="4682953"/>
              <a:ext cx="152594" cy="233616"/>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62" name="device"/>
          <p:cNvGrpSpPr/>
          <p:nvPr/>
        </p:nvGrpSpPr>
        <p:grpSpPr>
          <a:xfrm>
            <a:off x="1293353" y="3131506"/>
            <a:ext cx="914361" cy="878094"/>
            <a:chOff x="1293353" y="3131506"/>
            <a:chExt cx="914361" cy="878094"/>
          </a:xfrm>
        </p:grpSpPr>
        <p:grpSp>
          <p:nvGrpSpPr>
            <p:cNvPr id="67" name="Group 66"/>
            <p:cNvGrpSpPr/>
            <p:nvPr/>
          </p:nvGrpSpPr>
          <p:grpSpPr>
            <a:xfrm>
              <a:off x="1293353" y="3201595"/>
              <a:ext cx="349840" cy="579424"/>
              <a:chOff x="1763317" y="5394932"/>
              <a:chExt cx="349840" cy="579424"/>
            </a:xfrm>
          </p:grpSpPr>
          <p:sp>
            <p:nvSpPr>
              <p:cNvPr id="68" name="Freeform 13"/>
              <p:cNvSpPr>
                <a:spLocks noEditPoints="1"/>
              </p:cNvSpPr>
              <p:nvPr/>
            </p:nvSpPr>
            <p:spPr bwMode="auto">
              <a:xfrm>
                <a:off x="1763317" y="5394932"/>
                <a:ext cx="294924" cy="198821"/>
              </a:xfrm>
              <a:prstGeom prst="frame">
                <a:avLst/>
              </a:prstGeom>
              <a:solidFill>
                <a:srgbClr val="86BE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69" name="Freeform 15"/>
              <p:cNvSpPr>
                <a:spLocks/>
              </p:cNvSpPr>
              <p:nvPr/>
            </p:nvSpPr>
            <p:spPr bwMode="auto">
              <a:xfrm>
                <a:off x="1763317" y="5438764"/>
                <a:ext cx="349840" cy="535592"/>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45" name="Group 44"/>
            <p:cNvGrpSpPr/>
            <p:nvPr/>
          </p:nvGrpSpPr>
          <p:grpSpPr>
            <a:xfrm>
              <a:off x="1643194" y="3542295"/>
              <a:ext cx="564520" cy="467305"/>
              <a:chOff x="517516" y="3589298"/>
              <a:chExt cx="1770439" cy="1465554"/>
            </a:xfrm>
          </p:grpSpPr>
          <p:sp>
            <p:nvSpPr>
              <p:cNvPr id="77"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78" name="Oval 29"/>
              <p:cNvSpPr>
                <a:spLocks noChangeArrowheads="1"/>
              </p:cNvSpPr>
              <p:nvPr/>
            </p:nvSpPr>
            <p:spPr bwMode="auto">
              <a:xfrm>
                <a:off x="1204260" y="3589298"/>
                <a:ext cx="241493" cy="241493"/>
              </a:xfrm>
              <a:prstGeom prst="ellipse">
                <a:avLst/>
              </a:prstGeom>
              <a:solidFill>
                <a:srgbClr val="86BE0E"/>
              </a:solidFill>
              <a:ln>
                <a:noFill/>
              </a:ln>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44"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6" name="Group 45"/>
            <p:cNvGrpSpPr/>
            <p:nvPr/>
          </p:nvGrpSpPr>
          <p:grpSpPr>
            <a:xfrm>
              <a:off x="1783977" y="3131506"/>
              <a:ext cx="423736" cy="255258"/>
              <a:chOff x="1783977" y="3232718"/>
              <a:chExt cx="423736" cy="255258"/>
            </a:xfrm>
          </p:grpSpPr>
          <p:sp>
            <p:nvSpPr>
              <p:cNvPr id="70"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84"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rgbClr val="86BE0E"/>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grpSp>
      </p:grpSp>
      <p:grpSp>
        <p:nvGrpSpPr>
          <p:cNvPr id="85" name="Device …4"/>
          <p:cNvGrpSpPr/>
          <p:nvPr/>
        </p:nvGrpSpPr>
        <p:grpSpPr>
          <a:xfrm>
            <a:off x="4424918" y="5532835"/>
            <a:ext cx="407905" cy="337660"/>
            <a:chOff x="517516" y="3589298"/>
            <a:chExt cx="1770439" cy="1465554"/>
          </a:xfrm>
        </p:grpSpPr>
        <p:sp>
          <p:nvSpPr>
            <p:cNvPr id="86"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87" name="Oval 29"/>
            <p:cNvSpPr>
              <a:spLocks noChangeArrowheads="1"/>
            </p:cNvSpPr>
            <p:nvPr/>
          </p:nvSpPr>
          <p:spPr bwMode="auto">
            <a:xfrm>
              <a:off x="1204260" y="3589298"/>
              <a:ext cx="241493" cy="241493"/>
            </a:xfrm>
            <a:prstGeom prst="ellipse">
              <a:avLst/>
            </a:prstGeom>
            <a:solidFill>
              <a:srgbClr val="86BE0E"/>
            </a:solidFill>
            <a:ln>
              <a:noFill/>
            </a:ln>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88"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9" name="Device …3"/>
          <p:cNvGrpSpPr/>
          <p:nvPr/>
        </p:nvGrpSpPr>
        <p:grpSpPr>
          <a:xfrm>
            <a:off x="4463793" y="5139648"/>
            <a:ext cx="339700" cy="204635"/>
            <a:chOff x="1783977" y="3232718"/>
            <a:chExt cx="423736" cy="255258"/>
          </a:xfrm>
        </p:grpSpPr>
        <p:sp>
          <p:nvSpPr>
            <p:cNvPr id="96"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97"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rgbClr val="86BE0E"/>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grpSp>
      <p:sp>
        <p:nvSpPr>
          <p:cNvPr id="98" name="Device … 1"/>
          <p:cNvSpPr>
            <a:spLocks noEditPoints="1"/>
          </p:cNvSpPr>
          <p:nvPr/>
        </p:nvSpPr>
        <p:spPr bwMode="black">
          <a:xfrm>
            <a:off x="4490052" y="4067659"/>
            <a:ext cx="297458" cy="297262"/>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grpSp>
        <p:nvGrpSpPr>
          <p:cNvPr id="52" name="IoT Hub management"/>
          <p:cNvGrpSpPr/>
          <p:nvPr/>
        </p:nvGrpSpPr>
        <p:grpSpPr>
          <a:xfrm>
            <a:off x="5940450" y="5470954"/>
            <a:ext cx="425518" cy="375193"/>
            <a:chOff x="5940450" y="5470954"/>
            <a:chExt cx="425518" cy="375193"/>
          </a:xfrm>
        </p:grpSpPr>
        <p:sp>
          <p:nvSpPr>
            <p:cNvPr id="102" name="Freeform 101"/>
            <p:cNvSpPr/>
            <p:nvPr/>
          </p:nvSpPr>
          <p:spPr bwMode="auto">
            <a:xfrm>
              <a:off x="5940450" y="5470954"/>
              <a:ext cx="425518" cy="375193"/>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1" name="Group 50"/>
            <p:cNvGrpSpPr/>
            <p:nvPr/>
          </p:nvGrpSpPr>
          <p:grpSpPr>
            <a:xfrm>
              <a:off x="6032077" y="5601867"/>
              <a:ext cx="258584" cy="74058"/>
              <a:chOff x="5993561" y="5590711"/>
              <a:chExt cx="371622" cy="106432"/>
            </a:xfrm>
          </p:grpSpPr>
          <p:sp>
            <p:nvSpPr>
              <p:cNvPr id="49" name="Rectangle 48"/>
              <p:cNvSpPr/>
              <p:nvPr/>
            </p:nvSpPr>
            <p:spPr bwMode="auto">
              <a:xfrm>
                <a:off x="599356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Rectangle 103"/>
              <p:cNvSpPr/>
              <p:nvPr/>
            </p:nvSpPr>
            <p:spPr bwMode="auto">
              <a:xfrm>
                <a:off x="6123832"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p:cNvSpPr/>
              <p:nvPr/>
            </p:nvSpPr>
            <p:spPr bwMode="auto">
              <a:xfrm>
                <a:off x="6258751" y="5590711"/>
                <a:ext cx="106432" cy="1064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06" name="Group 105"/>
            <p:cNvGrpSpPr/>
            <p:nvPr/>
          </p:nvGrpSpPr>
          <p:grpSpPr>
            <a:xfrm>
              <a:off x="6032077" y="5697143"/>
              <a:ext cx="258584" cy="74058"/>
              <a:chOff x="5993561" y="5590711"/>
              <a:chExt cx="371622" cy="106432"/>
            </a:xfrm>
          </p:grpSpPr>
          <p:sp>
            <p:nvSpPr>
              <p:cNvPr id="107" name="Rectangle 106"/>
              <p:cNvSpPr/>
              <p:nvPr/>
            </p:nvSpPr>
            <p:spPr bwMode="auto">
              <a:xfrm>
                <a:off x="5993561"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Rectangle 107"/>
              <p:cNvSpPr/>
              <p:nvPr/>
            </p:nvSpPr>
            <p:spPr bwMode="auto">
              <a:xfrm>
                <a:off x="6123832"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Rectangle 108"/>
              <p:cNvSpPr/>
              <p:nvPr/>
            </p:nvSpPr>
            <p:spPr bwMode="auto">
              <a:xfrm>
                <a:off x="625875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110" name="Device identity management"/>
          <p:cNvSpPr>
            <a:spLocks noEditPoints="1"/>
          </p:cNvSpPr>
          <p:nvPr/>
        </p:nvSpPr>
        <p:spPr bwMode="black">
          <a:xfrm>
            <a:off x="7589838" y="5322323"/>
            <a:ext cx="297458" cy="297262"/>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112" name="Device provisioning"/>
          <p:cNvSpPr>
            <a:spLocks noChangeAspect="1" noEditPoints="1"/>
          </p:cNvSpPr>
          <p:nvPr/>
        </p:nvSpPr>
        <p:spPr bwMode="auto">
          <a:xfrm>
            <a:off x="11126432" y="5279246"/>
            <a:ext cx="729188" cy="591249"/>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grpSp>
        <p:nvGrpSpPr>
          <p:cNvPr id="113" name="C2D send endpoint"/>
          <p:cNvGrpSpPr>
            <a:grpSpLocks noChangeAspect="1"/>
          </p:cNvGrpSpPr>
          <p:nvPr/>
        </p:nvGrpSpPr>
        <p:grpSpPr bwMode="auto">
          <a:xfrm>
            <a:off x="7614352" y="3861260"/>
            <a:ext cx="184628" cy="186405"/>
            <a:chOff x="8096" y="-1886"/>
            <a:chExt cx="935" cy="944"/>
          </a:xfrm>
          <a:solidFill>
            <a:schemeClr val="bg1"/>
          </a:solidFill>
        </p:grpSpPr>
        <p:sp>
          <p:nvSpPr>
            <p:cNvPr id="114" name="Oval 718"/>
            <p:cNvSpPr>
              <a:spLocks noChangeArrowheads="1"/>
            </p:cNvSpPr>
            <p:nvPr/>
          </p:nvSpPr>
          <p:spPr bwMode="auto">
            <a:xfrm>
              <a:off x="8096" y="-1202"/>
              <a:ext cx="257" cy="260"/>
            </a:xfrm>
            <a:prstGeom prst="ellipse">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115" name="Freeform 719"/>
            <p:cNvSpPr>
              <a:spLocks/>
            </p:cNvSpPr>
            <p:nvPr/>
          </p:nvSpPr>
          <p:spPr bwMode="auto">
            <a:xfrm>
              <a:off x="8096" y="-1568"/>
              <a:ext cx="618" cy="626"/>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116" name="Freeform 720"/>
            <p:cNvSpPr>
              <a:spLocks/>
            </p:cNvSpPr>
            <p:nvPr/>
          </p:nvSpPr>
          <p:spPr bwMode="auto">
            <a:xfrm>
              <a:off x="8096" y="-1886"/>
              <a:ext cx="935" cy="944"/>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6" name="Device business logic,"/>
          <p:cNvSpPr/>
          <p:nvPr/>
        </p:nvSpPr>
        <p:spPr>
          <a:xfrm>
            <a:off x="9071468" y="3287646"/>
            <a:ext cx="2887291" cy="178892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400" dirty="0">
                <a:solidFill>
                  <a:schemeClr val="tx1"/>
                </a:solidFill>
                <a:latin typeface="Segoe UI Semibold" panose="020B0702040204020203" pitchFamily="34" charset="0"/>
                <a:ea typeface="Segoe UI" pitchFamily="34" charset="0"/>
                <a:cs typeface="Segoe UI" pitchFamily="34" charset="0"/>
              </a:rPr>
              <a:t>Device business logic,</a:t>
            </a:r>
          </a:p>
          <a:p>
            <a:pPr defTabSz="913748" eaLnBrk="1" hangingPunct="1">
              <a:lnSpc>
                <a:spcPct val="90000"/>
              </a:lnSpc>
              <a:spcAft>
                <a:spcPts val="0"/>
              </a:spcAft>
            </a:pPr>
            <a:r>
              <a:rPr lang="en-US" sz="1400" dirty="0">
                <a:solidFill>
                  <a:schemeClr val="tx1"/>
                </a:solidFill>
                <a:latin typeface="Segoe UI Semibold" panose="020B0702040204020203" pitchFamily="34" charset="0"/>
                <a:ea typeface="Segoe UI" pitchFamily="34" charset="0"/>
                <a:cs typeface="Segoe UI" pitchFamily="34" charset="0"/>
              </a:rPr>
              <a:t>Connectivity monitoring</a:t>
            </a:r>
          </a:p>
        </p:txBody>
      </p:sp>
      <p:sp>
        <p:nvSpPr>
          <p:cNvPr id="118" name="D2C receive endpoint"/>
          <p:cNvSpPr>
            <a:spLocks noChangeAspect="1"/>
          </p:cNvSpPr>
          <p:nvPr/>
        </p:nvSpPr>
        <p:spPr>
          <a:xfrm>
            <a:off x="7505337" y="2998406"/>
            <a:ext cx="349299" cy="199285"/>
          </a:xfrm>
          <a:custGeom>
            <a:avLst/>
            <a:gdLst>
              <a:gd name="connsiteX0" fmla="*/ 667304 w 790922"/>
              <a:gd name="connsiteY0" fmla="*/ 269960 h 451244"/>
              <a:gd name="connsiteX1" fmla="*/ 611339 w 790922"/>
              <a:gd name="connsiteY1" fmla="*/ 325925 h 451244"/>
              <a:gd name="connsiteX2" fmla="*/ 667304 w 790922"/>
              <a:gd name="connsiteY2" fmla="*/ 381890 h 451244"/>
              <a:gd name="connsiteX3" fmla="*/ 723269 w 790922"/>
              <a:gd name="connsiteY3" fmla="*/ 325925 h 451244"/>
              <a:gd name="connsiteX4" fmla="*/ 667304 w 790922"/>
              <a:gd name="connsiteY4" fmla="*/ 269960 h 451244"/>
              <a:gd name="connsiteX5" fmla="*/ 490129 w 790922"/>
              <a:gd name="connsiteY5" fmla="*/ 269960 h 451244"/>
              <a:gd name="connsiteX6" fmla="*/ 434164 w 790922"/>
              <a:gd name="connsiteY6" fmla="*/ 325925 h 451244"/>
              <a:gd name="connsiteX7" fmla="*/ 490129 w 790922"/>
              <a:gd name="connsiteY7" fmla="*/ 381890 h 451244"/>
              <a:gd name="connsiteX8" fmla="*/ 546094 w 790922"/>
              <a:gd name="connsiteY8" fmla="*/ 325925 h 451244"/>
              <a:gd name="connsiteX9" fmla="*/ 490129 w 790922"/>
              <a:gd name="connsiteY9" fmla="*/ 269960 h 451244"/>
              <a:gd name="connsiteX10" fmla="*/ 312954 w 790922"/>
              <a:gd name="connsiteY10" fmla="*/ 269960 h 451244"/>
              <a:gd name="connsiteX11" fmla="*/ 256989 w 790922"/>
              <a:gd name="connsiteY11" fmla="*/ 325925 h 451244"/>
              <a:gd name="connsiteX12" fmla="*/ 312954 w 790922"/>
              <a:gd name="connsiteY12" fmla="*/ 381890 h 451244"/>
              <a:gd name="connsiteX13" fmla="*/ 368919 w 790922"/>
              <a:gd name="connsiteY13" fmla="*/ 325925 h 451244"/>
              <a:gd name="connsiteX14" fmla="*/ 312954 w 790922"/>
              <a:gd name="connsiteY14" fmla="*/ 269960 h 451244"/>
              <a:gd name="connsiteX15" fmla="*/ 135779 w 790922"/>
              <a:gd name="connsiteY15" fmla="*/ 269960 h 451244"/>
              <a:gd name="connsiteX16" fmla="*/ 79814 w 790922"/>
              <a:gd name="connsiteY16" fmla="*/ 325925 h 451244"/>
              <a:gd name="connsiteX17" fmla="*/ 135779 w 790922"/>
              <a:gd name="connsiteY17" fmla="*/ 381890 h 451244"/>
              <a:gd name="connsiteX18" fmla="*/ 191744 w 790922"/>
              <a:gd name="connsiteY18" fmla="*/ 325925 h 451244"/>
              <a:gd name="connsiteX19" fmla="*/ 135779 w 790922"/>
              <a:gd name="connsiteY19" fmla="*/ 269960 h 451244"/>
              <a:gd name="connsiteX20" fmla="*/ 42480 w 790922"/>
              <a:gd name="connsiteY20" fmla="*/ 196370 h 451244"/>
              <a:gd name="connsiteX21" fmla="*/ 748442 w 790922"/>
              <a:gd name="connsiteY21" fmla="*/ 196370 h 451244"/>
              <a:gd name="connsiteX22" fmla="*/ 790922 w 790922"/>
              <a:gd name="connsiteY22" fmla="*/ 238850 h 451244"/>
              <a:gd name="connsiteX23" fmla="*/ 790922 w 790922"/>
              <a:gd name="connsiteY23" fmla="*/ 408764 h 451244"/>
              <a:gd name="connsiteX24" fmla="*/ 748442 w 790922"/>
              <a:gd name="connsiteY24" fmla="*/ 451244 h 451244"/>
              <a:gd name="connsiteX25" fmla="*/ 42480 w 790922"/>
              <a:gd name="connsiteY25" fmla="*/ 451244 h 451244"/>
              <a:gd name="connsiteX26" fmla="*/ 0 w 790922"/>
              <a:gd name="connsiteY26" fmla="*/ 408764 h 451244"/>
              <a:gd name="connsiteX27" fmla="*/ 0 w 790922"/>
              <a:gd name="connsiteY27" fmla="*/ 238850 h 451244"/>
              <a:gd name="connsiteX28" fmla="*/ 42480 w 790922"/>
              <a:gd name="connsiteY28" fmla="*/ 196370 h 451244"/>
              <a:gd name="connsiteX29" fmla="*/ 149858 w 790922"/>
              <a:gd name="connsiteY29" fmla="*/ 0 h 451244"/>
              <a:gd name="connsiteX30" fmla="*/ 641065 w 790922"/>
              <a:gd name="connsiteY30" fmla="*/ 0 h 451244"/>
              <a:gd name="connsiteX31" fmla="*/ 786874 w 790922"/>
              <a:gd name="connsiteY31" fmla="*/ 142247 h 451244"/>
              <a:gd name="connsiteX32" fmla="*/ 4049 w 790922"/>
              <a:gd name="connsiteY32" fmla="*/ 142247 h 451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90922" h="451244">
                <a:moveTo>
                  <a:pt x="667304" y="269960"/>
                </a:moveTo>
                <a:cubicBezTo>
                  <a:pt x="636395" y="269960"/>
                  <a:pt x="611339" y="295016"/>
                  <a:pt x="611339" y="325925"/>
                </a:cubicBezTo>
                <a:cubicBezTo>
                  <a:pt x="611339" y="356834"/>
                  <a:pt x="636395" y="381890"/>
                  <a:pt x="667304" y="381890"/>
                </a:cubicBezTo>
                <a:cubicBezTo>
                  <a:pt x="698213" y="381890"/>
                  <a:pt x="723269" y="356834"/>
                  <a:pt x="723269" y="325925"/>
                </a:cubicBezTo>
                <a:cubicBezTo>
                  <a:pt x="723269" y="295016"/>
                  <a:pt x="698213" y="269960"/>
                  <a:pt x="667304" y="269960"/>
                </a:cubicBezTo>
                <a:close/>
                <a:moveTo>
                  <a:pt x="490129" y="269960"/>
                </a:moveTo>
                <a:cubicBezTo>
                  <a:pt x="459220" y="269960"/>
                  <a:pt x="434164" y="295016"/>
                  <a:pt x="434164" y="325925"/>
                </a:cubicBezTo>
                <a:cubicBezTo>
                  <a:pt x="434164" y="356834"/>
                  <a:pt x="459220" y="381890"/>
                  <a:pt x="490129" y="381890"/>
                </a:cubicBezTo>
                <a:cubicBezTo>
                  <a:pt x="521038" y="381890"/>
                  <a:pt x="546094" y="356834"/>
                  <a:pt x="546094" y="325925"/>
                </a:cubicBezTo>
                <a:cubicBezTo>
                  <a:pt x="546094" y="295016"/>
                  <a:pt x="521038" y="269960"/>
                  <a:pt x="490129" y="269960"/>
                </a:cubicBezTo>
                <a:close/>
                <a:moveTo>
                  <a:pt x="312954" y="269960"/>
                </a:moveTo>
                <a:cubicBezTo>
                  <a:pt x="282045" y="269960"/>
                  <a:pt x="256989" y="295016"/>
                  <a:pt x="256989" y="325925"/>
                </a:cubicBezTo>
                <a:cubicBezTo>
                  <a:pt x="256989" y="356834"/>
                  <a:pt x="282045" y="381890"/>
                  <a:pt x="312954" y="381890"/>
                </a:cubicBezTo>
                <a:cubicBezTo>
                  <a:pt x="343863" y="381890"/>
                  <a:pt x="368919" y="356834"/>
                  <a:pt x="368919" y="325925"/>
                </a:cubicBezTo>
                <a:cubicBezTo>
                  <a:pt x="368919" y="295016"/>
                  <a:pt x="343863" y="269960"/>
                  <a:pt x="312954" y="269960"/>
                </a:cubicBezTo>
                <a:close/>
                <a:moveTo>
                  <a:pt x="135779" y="269960"/>
                </a:moveTo>
                <a:cubicBezTo>
                  <a:pt x="104870" y="269960"/>
                  <a:pt x="79814" y="295016"/>
                  <a:pt x="79814" y="325925"/>
                </a:cubicBezTo>
                <a:cubicBezTo>
                  <a:pt x="79814" y="356834"/>
                  <a:pt x="104870" y="381890"/>
                  <a:pt x="135779" y="381890"/>
                </a:cubicBezTo>
                <a:cubicBezTo>
                  <a:pt x="166688" y="381890"/>
                  <a:pt x="191744" y="356834"/>
                  <a:pt x="191744" y="325925"/>
                </a:cubicBezTo>
                <a:cubicBezTo>
                  <a:pt x="191744" y="295016"/>
                  <a:pt x="166688" y="269960"/>
                  <a:pt x="135779" y="269960"/>
                </a:cubicBezTo>
                <a:close/>
                <a:moveTo>
                  <a:pt x="42480" y="196370"/>
                </a:moveTo>
                <a:lnTo>
                  <a:pt x="748442" y="196370"/>
                </a:lnTo>
                <a:cubicBezTo>
                  <a:pt x="771903" y="196370"/>
                  <a:pt x="790922" y="215389"/>
                  <a:pt x="790922" y="238850"/>
                </a:cubicBezTo>
                <a:lnTo>
                  <a:pt x="790922" y="408764"/>
                </a:lnTo>
                <a:cubicBezTo>
                  <a:pt x="790922" y="432225"/>
                  <a:pt x="771903" y="451244"/>
                  <a:pt x="748442" y="451244"/>
                </a:cubicBezTo>
                <a:lnTo>
                  <a:pt x="42480" y="451244"/>
                </a:lnTo>
                <a:cubicBezTo>
                  <a:pt x="19019" y="451244"/>
                  <a:pt x="0" y="432225"/>
                  <a:pt x="0" y="408764"/>
                </a:cubicBezTo>
                <a:lnTo>
                  <a:pt x="0" y="238850"/>
                </a:lnTo>
                <a:cubicBezTo>
                  <a:pt x="0" y="215389"/>
                  <a:pt x="19019" y="196370"/>
                  <a:pt x="42480" y="196370"/>
                </a:cubicBezTo>
                <a:close/>
                <a:moveTo>
                  <a:pt x="149858" y="0"/>
                </a:moveTo>
                <a:lnTo>
                  <a:pt x="641065" y="0"/>
                </a:lnTo>
                <a:lnTo>
                  <a:pt x="786874" y="142247"/>
                </a:lnTo>
                <a:lnTo>
                  <a:pt x="4049" y="142247"/>
                </a:lnTo>
                <a:close/>
              </a:path>
            </a:pathLst>
          </a:custGeom>
          <a:gradFill>
            <a:gsLst>
              <a:gs pos="28000">
                <a:srgbClr val="5EB6DA"/>
              </a:gs>
              <a:gs pos="28000">
                <a:srgbClr val="3999C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nvGrpSpPr>
          <p:cNvPr id="120" name="feedback icon"/>
          <p:cNvGrpSpPr/>
          <p:nvPr/>
        </p:nvGrpSpPr>
        <p:grpSpPr>
          <a:xfrm>
            <a:off x="7580583" y="4468856"/>
            <a:ext cx="284977" cy="271173"/>
            <a:chOff x="11209667" y="1326560"/>
            <a:chExt cx="1287867" cy="1225483"/>
          </a:xfrm>
        </p:grpSpPr>
        <p:grpSp>
          <p:nvGrpSpPr>
            <p:cNvPr id="121" name="Group 120"/>
            <p:cNvGrpSpPr/>
            <p:nvPr/>
          </p:nvGrpSpPr>
          <p:grpSpPr>
            <a:xfrm>
              <a:off x="11209667" y="1326560"/>
              <a:ext cx="901749" cy="772996"/>
              <a:chOff x="11148003" y="2486796"/>
              <a:chExt cx="1527631" cy="1309513"/>
            </a:xfrm>
          </p:grpSpPr>
          <p:sp>
            <p:nvSpPr>
              <p:cNvPr id="128" name="Round Same Side Corner Rectangle 127"/>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29" name="Round Same Side Corner Rectangle 128"/>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grpSp>
        <p:grpSp>
          <p:nvGrpSpPr>
            <p:cNvPr id="122" name="Group 121"/>
            <p:cNvGrpSpPr/>
            <p:nvPr/>
          </p:nvGrpSpPr>
          <p:grpSpPr>
            <a:xfrm>
              <a:off x="11403194" y="1550235"/>
              <a:ext cx="900814" cy="772996"/>
              <a:chOff x="11148003" y="2486796"/>
              <a:chExt cx="1526047" cy="1309513"/>
            </a:xfrm>
          </p:grpSpPr>
          <p:sp>
            <p:nvSpPr>
              <p:cNvPr id="126" name="Round Same Side Corner Rectangle 125"/>
              <p:cNvSpPr/>
              <p:nvPr/>
            </p:nvSpPr>
            <p:spPr bwMode="auto">
              <a:xfrm>
                <a:off x="11148006" y="2486796"/>
                <a:ext cx="1526044" cy="1309513"/>
              </a:xfrm>
              <a:prstGeom prst="round2SameRect">
                <a:avLst>
                  <a:gd name="adj1" fmla="val 5262"/>
                  <a:gd name="adj2" fmla="val 0"/>
                </a:avLst>
              </a:prstGeom>
              <a:gradFill flip="none" rotWithShape="1">
                <a:gsLst>
                  <a:gs pos="46000">
                    <a:srgbClr val="4CA3CC"/>
                  </a:gs>
                  <a:gs pos="46000">
                    <a:srgbClr val="45A2CF"/>
                  </a:gs>
                </a:gsLst>
                <a:lin ang="300000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27" name="Round Same Side Corner Rectangle 126"/>
              <p:cNvSpPr/>
              <p:nvPr/>
            </p:nvSpPr>
            <p:spPr bwMode="auto">
              <a:xfrm>
                <a:off x="11148003" y="2486796"/>
                <a:ext cx="1526044" cy="274703"/>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grpSp>
        <p:grpSp>
          <p:nvGrpSpPr>
            <p:cNvPr id="123" name="Group 122"/>
            <p:cNvGrpSpPr/>
            <p:nvPr/>
          </p:nvGrpSpPr>
          <p:grpSpPr>
            <a:xfrm>
              <a:off x="11595785" y="1779047"/>
              <a:ext cx="901749" cy="772996"/>
              <a:chOff x="11148003" y="2486796"/>
              <a:chExt cx="1527631" cy="1309513"/>
            </a:xfrm>
          </p:grpSpPr>
          <p:sp>
            <p:nvSpPr>
              <p:cNvPr id="124" name="Round Same Side Corner Rectangle 123"/>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25" name="Round Same Side Corner Rectangle 124"/>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grpSp>
      </p:grpSp>
      <p:grpSp>
        <p:nvGrpSpPr>
          <p:cNvPr id="2" name="Group 1"/>
          <p:cNvGrpSpPr/>
          <p:nvPr/>
        </p:nvGrpSpPr>
        <p:grpSpPr>
          <a:xfrm>
            <a:off x="1098343" y="4421413"/>
            <a:ext cx="1338081" cy="1554418"/>
            <a:chOff x="1098343" y="4421413"/>
            <a:chExt cx="1338081" cy="1554418"/>
          </a:xfrm>
        </p:grpSpPr>
        <p:sp>
          <p:nvSpPr>
            <p:cNvPr id="92" name="Field GW /"/>
            <p:cNvSpPr/>
            <p:nvPr/>
          </p:nvSpPr>
          <p:spPr bwMode="auto">
            <a:xfrm>
              <a:off x="1098343" y="4421413"/>
              <a:ext cx="1338081" cy="155441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400" dirty="0">
                  <a:solidFill>
                    <a:schemeClr val="tx1"/>
                  </a:solidFill>
                  <a:latin typeface="Segoe UI Semibold" panose="020B0702040204020203" pitchFamily="34" charset="0"/>
                  <a:ea typeface="Segoe UI" pitchFamily="34" charset="0"/>
                  <a:cs typeface="Segoe UI" pitchFamily="34" charset="0"/>
                </a:rPr>
                <a:t>Field GW /</a:t>
              </a:r>
            </a:p>
            <a:p>
              <a:pPr defTabSz="913748" eaLnBrk="1" hangingPunct="1">
                <a:lnSpc>
                  <a:spcPct val="90000"/>
                </a:lnSpc>
                <a:spcAft>
                  <a:spcPts val="0"/>
                </a:spcAft>
              </a:pPr>
              <a:r>
                <a:rPr lang="en-US" sz="1400" dirty="0">
                  <a:solidFill>
                    <a:schemeClr val="tx1"/>
                  </a:solidFill>
                  <a:latin typeface="Segoe UI Semibold" panose="020B0702040204020203" pitchFamily="34" charset="0"/>
                  <a:ea typeface="Segoe UI" pitchFamily="34" charset="0"/>
                  <a:cs typeface="Segoe UI" pitchFamily="34" charset="0"/>
                </a:rPr>
                <a:t>Cloud GW</a:t>
              </a:r>
            </a:p>
          </p:txBody>
        </p:sp>
        <p:grpSp>
          <p:nvGrpSpPr>
            <p:cNvPr id="99" name="Group 98"/>
            <p:cNvGrpSpPr/>
            <p:nvPr/>
          </p:nvGrpSpPr>
          <p:grpSpPr>
            <a:xfrm>
              <a:off x="1145995" y="4483229"/>
              <a:ext cx="782946" cy="489587"/>
              <a:chOff x="7966852" y="2699664"/>
              <a:chExt cx="782946" cy="489587"/>
            </a:xfrm>
          </p:grpSpPr>
          <p:sp>
            <p:nvSpPr>
              <p:cNvPr id="100" name="Freeform 99"/>
              <p:cNvSpPr>
                <a:spLocks noChangeAspect="1"/>
              </p:cNvSpPr>
              <p:nvPr/>
            </p:nvSpPr>
            <p:spPr bwMode="auto">
              <a:xfrm>
                <a:off x="7966852" y="2699664"/>
                <a:ext cx="782946" cy="489587"/>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gradFill flip="none" rotWithShape="1">
                  <a:gsLst>
                    <a:gs pos="50000">
                      <a:srgbClr val="5EB6DA"/>
                    </a:gs>
                    <a:gs pos="50000">
                      <a:srgbClr val="3999C6"/>
                    </a:gs>
                  </a:gsLst>
                  <a:lin ang="8100000" scaled="1"/>
                  <a:tileRect/>
                </a:gradFill>
              </a:ln>
              <a:extLst>
                <a:ext uri="{91240B29-F687-4f45-9708-019B960494DF}">
                  <a14:hiddenLine xmlns=""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marL="0" marR="0" lvl="0" indent="0" algn="ctr" defTabSz="932742" rtl="0" eaLnBrk="1" fontAlgn="auto" latinLnBrk="0" hangingPunct="1">
                  <a:lnSpc>
                    <a:spcPct val="80000"/>
                  </a:lnSpc>
                  <a:spcBef>
                    <a:spcPts val="0"/>
                  </a:spcBef>
                  <a:spcAft>
                    <a:spcPts val="0"/>
                  </a:spcAft>
                  <a:buClrTx/>
                  <a:buSzTx/>
                  <a:buFontTx/>
                  <a:buNone/>
                  <a:tabLst/>
                  <a:defRPr/>
                </a:pPr>
                <a:endParaRPr kumimoji="0" lang="en-US" sz="4400" b="0" i="0" u="none" strike="noStrike" kern="1200" cap="none" spc="-150" normalizeH="0" baseline="0" noProof="0">
                  <a:ln>
                    <a:noFill/>
                  </a:ln>
                  <a:solidFill>
                    <a:srgbClr val="FFFFFF"/>
                  </a:solidFill>
                  <a:effectLst/>
                  <a:uLnTx/>
                  <a:uFillTx/>
                  <a:latin typeface="Segoe UI Light"/>
                  <a:ea typeface="+mn-ea"/>
                  <a:cs typeface="+mn-cs"/>
                </a:endParaRPr>
              </a:p>
            </p:txBody>
          </p:sp>
          <p:grpSp>
            <p:nvGrpSpPr>
              <p:cNvPr id="101" name="Group 100"/>
              <p:cNvGrpSpPr/>
              <p:nvPr/>
            </p:nvGrpSpPr>
            <p:grpSpPr>
              <a:xfrm>
                <a:off x="8188271" y="2851116"/>
                <a:ext cx="257445" cy="288170"/>
                <a:chOff x="3876323" y="2412935"/>
                <a:chExt cx="981584" cy="1503227"/>
              </a:xfrm>
            </p:grpSpPr>
            <p:grpSp>
              <p:nvGrpSpPr>
                <p:cNvPr id="103" name="Group 102"/>
                <p:cNvGrpSpPr/>
                <p:nvPr/>
              </p:nvGrpSpPr>
              <p:grpSpPr>
                <a:xfrm>
                  <a:off x="4075337" y="2655193"/>
                  <a:ext cx="640701" cy="978962"/>
                  <a:chOff x="3978978" y="2691315"/>
                  <a:chExt cx="745467" cy="1374671"/>
                </a:xfrm>
              </p:grpSpPr>
              <p:sp>
                <p:nvSpPr>
                  <p:cNvPr id="131" name="Rectangle 130"/>
                  <p:cNvSpPr/>
                  <p:nvPr>
                    <p:custDataLst>
                      <p:tags r:id="rId1"/>
                    </p:custDataLst>
                  </p:nvPr>
                </p:nvSpPr>
                <p:spPr bwMode="auto">
                  <a:xfrm>
                    <a:off x="3978978" y="269131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2" name="Rectangle 131"/>
                  <p:cNvSpPr/>
                  <p:nvPr>
                    <p:custDataLst>
                      <p:tags r:id="rId2"/>
                    </p:custDataLst>
                  </p:nvPr>
                </p:nvSpPr>
                <p:spPr bwMode="auto">
                  <a:xfrm>
                    <a:off x="4269686" y="2945333"/>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3" name="Rectangle 132"/>
                  <p:cNvSpPr/>
                  <p:nvPr>
                    <p:custDataLst>
                      <p:tags r:id="rId3"/>
                    </p:custDataLst>
                  </p:nvPr>
                </p:nvSpPr>
                <p:spPr bwMode="auto">
                  <a:xfrm>
                    <a:off x="3978978" y="3195771"/>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4" name="Rectangle 133"/>
                  <p:cNvSpPr/>
                  <p:nvPr>
                    <p:custDataLst>
                      <p:tags r:id="rId4"/>
                    </p:custDataLst>
                  </p:nvPr>
                </p:nvSpPr>
                <p:spPr bwMode="auto">
                  <a:xfrm>
                    <a:off x="4269686" y="3482449"/>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5" name="Rectangle 134"/>
                  <p:cNvSpPr/>
                  <p:nvPr>
                    <p:custDataLst>
                      <p:tags r:id="rId5"/>
                    </p:custDataLst>
                  </p:nvPr>
                </p:nvSpPr>
                <p:spPr bwMode="auto">
                  <a:xfrm>
                    <a:off x="3978978" y="3700226"/>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6" name="Rectangle 135"/>
                  <p:cNvSpPr/>
                  <p:nvPr>
                    <p:custDataLst>
                      <p:tags r:id="rId6"/>
                    </p:custDataLst>
                  </p:nvPr>
                </p:nvSpPr>
                <p:spPr bwMode="auto">
                  <a:xfrm>
                    <a:off x="4541565" y="319435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119" name="Freeform 118"/>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0" name="Freeform 129"/>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79" name="Field GW /"/>
            <p:cNvGrpSpPr/>
            <p:nvPr/>
          </p:nvGrpSpPr>
          <p:grpSpPr>
            <a:xfrm>
              <a:off x="1473310" y="4886209"/>
              <a:ext cx="839338" cy="496998"/>
              <a:chOff x="1263807" y="4532991"/>
              <a:chExt cx="987273" cy="617355"/>
            </a:xfrm>
          </p:grpSpPr>
          <p:sp>
            <p:nvSpPr>
              <p:cNvPr id="43" name="Freeform 42"/>
              <p:cNvSpPr>
                <a:spLocks noChangeAspect="1"/>
              </p:cNvSpPr>
              <p:nvPr/>
            </p:nvSpPr>
            <p:spPr bwMode="auto">
              <a:xfrm>
                <a:off x="1263807" y="4532991"/>
                <a:ext cx="987273" cy="617355"/>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gradFill flip="none" rotWithShape="1">
                  <a:gsLst>
                    <a:gs pos="50000">
                      <a:srgbClr val="5EB6DA"/>
                    </a:gs>
                    <a:gs pos="50000">
                      <a:srgbClr val="3999C6"/>
                    </a:gs>
                  </a:gsLst>
                  <a:lin ang="8100000" scaled="1"/>
                  <a:tileRect/>
                </a:gradFill>
              </a:ln>
              <a:extLst>
                <a:ext uri="{91240B29-F687-4f45-9708-019B960494DF}">
                  <a14:hiddenLine xmlns=""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marL="0" marR="0" lvl="0" indent="0" algn="ctr" defTabSz="932742" rtl="0" eaLnBrk="1" fontAlgn="auto" latinLnBrk="0" hangingPunct="1">
                  <a:lnSpc>
                    <a:spcPct val="80000"/>
                  </a:lnSpc>
                  <a:spcBef>
                    <a:spcPts val="0"/>
                  </a:spcBef>
                  <a:spcAft>
                    <a:spcPts val="0"/>
                  </a:spcAft>
                  <a:buClrTx/>
                  <a:buSzTx/>
                  <a:buFontTx/>
                  <a:buNone/>
                  <a:tabLst/>
                  <a:defRPr/>
                </a:pPr>
                <a:endParaRPr kumimoji="0" lang="en-US" sz="4400" b="0" i="0" u="none" strike="noStrike" kern="1200" cap="none" spc="-150" normalizeH="0" baseline="0" noProof="0">
                  <a:ln>
                    <a:noFill/>
                  </a:ln>
                  <a:solidFill>
                    <a:srgbClr val="FFFFFF"/>
                  </a:solidFill>
                  <a:effectLst/>
                  <a:uLnTx/>
                  <a:uFillTx/>
                  <a:latin typeface="Segoe UI Light"/>
                  <a:ea typeface="+mn-ea"/>
                  <a:cs typeface="+mn-cs"/>
                </a:endParaRPr>
              </a:p>
            </p:txBody>
          </p:sp>
          <p:sp>
            <p:nvSpPr>
              <p:cNvPr id="41" name="Frame 5"/>
              <p:cNvSpPr>
                <a:spLocks noChangeAspect="1"/>
              </p:cNvSpPr>
              <p:nvPr/>
            </p:nvSpPr>
            <p:spPr bwMode="auto">
              <a:xfrm>
                <a:off x="1614525" y="4728221"/>
                <a:ext cx="305716" cy="30563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11" name="Group 110"/>
          <p:cNvGrpSpPr/>
          <p:nvPr/>
        </p:nvGrpSpPr>
        <p:grpSpPr>
          <a:xfrm>
            <a:off x="10426747" y="3498074"/>
            <a:ext cx="1428873" cy="804372"/>
            <a:chOff x="7650446" y="2688141"/>
            <a:chExt cx="1802656" cy="1014790"/>
          </a:xfrm>
        </p:grpSpPr>
        <p:grpSp>
          <p:nvGrpSpPr>
            <p:cNvPr id="137" name="Group 136"/>
            <p:cNvGrpSpPr/>
            <p:nvPr/>
          </p:nvGrpSpPr>
          <p:grpSpPr>
            <a:xfrm>
              <a:off x="9072476" y="2927577"/>
              <a:ext cx="380626" cy="116486"/>
              <a:chOff x="9320007" y="2938754"/>
              <a:chExt cx="380626" cy="116486"/>
            </a:xfrm>
          </p:grpSpPr>
          <p:sp>
            <p:nvSpPr>
              <p:cNvPr id="183" name="TextBox 182"/>
              <p:cNvSpPr txBox="1"/>
              <p:nvPr/>
            </p:nvSpPr>
            <p:spPr>
              <a:xfrm>
                <a:off x="9320007"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1</a:t>
                </a:r>
              </a:p>
            </p:txBody>
          </p:sp>
          <p:sp>
            <p:nvSpPr>
              <p:cNvPr id="184" name="TextBox 183"/>
              <p:cNvSpPr txBox="1"/>
              <p:nvPr/>
            </p:nvSpPr>
            <p:spPr>
              <a:xfrm>
                <a:off x="9384403"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0</a:t>
                </a:r>
              </a:p>
            </p:txBody>
          </p:sp>
          <p:sp>
            <p:nvSpPr>
              <p:cNvPr id="185" name="TextBox 184"/>
              <p:cNvSpPr txBox="1"/>
              <p:nvPr/>
            </p:nvSpPr>
            <p:spPr>
              <a:xfrm>
                <a:off x="9577587"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1</a:t>
                </a:r>
              </a:p>
            </p:txBody>
          </p:sp>
          <p:sp>
            <p:nvSpPr>
              <p:cNvPr id="186" name="TextBox 185"/>
              <p:cNvSpPr txBox="1"/>
              <p:nvPr/>
            </p:nvSpPr>
            <p:spPr>
              <a:xfrm>
                <a:off x="9448796"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0</a:t>
                </a:r>
              </a:p>
            </p:txBody>
          </p:sp>
          <p:sp>
            <p:nvSpPr>
              <p:cNvPr id="188" name="TextBox 187"/>
              <p:cNvSpPr txBox="1"/>
              <p:nvPr/>
            </p:nvSpPr>
            <p:spPr>
              <a:xfrm>
                <a:off x="9513192"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1</a:t>
                </a:r>
              </a:p>
            </p:txBody>
          </p:sp>
          <p:sp>
            <p:nvSpPr>
              <p:cNvPr id="189" name="TextBox 188"/>
              <p:cNvSpPr txBox="1"/>
              <p:nvPr/>
            </p:nvSpPr>
            <p:spPr>
              <a:xfrm>
                <a:off x="9641984"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0</a:t>
                </a:r>
              </a:p>
            </p:txBody>
          </p:sp>
        </p:grpSp>
        <p:sp>
          <p:nvSpPr>
            <p:cNvPr id="138" name="Oval 137"/>
            <p:cNvSpPr/>
            <p:nvPr/>
          </p:nvSpPr>
          <p:spPr>
            <a:xfrm>
              <a:off x="8357126" y="2835911"/>
              <a:ext cx="126420" cy="336523"/>
            </a:xfrm>
            <a:prstGeom prst="ellipse">
              <a:avLst/>
            </a:prstGeom>
            <a:solidFill>
              <a:srgbClr val="3E3E3E"/>
            </a:solidFill>
            <a:ln w="3175">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rgbClr val="B9D80A"/>
                </a:solidFill>
                <a:latin typeface="OCR A Extended" panose="02010509020102010303" pitchFamily="50" charset="0"/>
              </a:endParaRPr>
            </a:p>
          </p:txBody>
        </p:sp>
        <p:sp>
          <p:nvSpPr>
            <p:cNvPr id="139" name="Donut 20"/>
            <p:cNvSpPr/>
            <p:nvPr/>
          </p:nvSpPr>
          <p:spPr>
            <a:xfrm>
              <a:off x="8863597" y="2759551"/>
              <a:ext cx="311280" cy="479652"/>
            </a:xfrm>
            <a:custGeom>
              <a:avLst/>
              <a:gdLst>
                <a:gd name="connsiteX0" fmla="*/ 0 w 564776"/>
                <a:gd name="connsiteY0" fmla="*/ 773141 h 1546282"/>
                <a:gd name="connsiteX1" fmla="*/ 282388 w 564776"/>
                <a:gd name="connsiteY1" fmla="*/ 0 h 1546282"/>
                <a:gd name="connsiteX2" fmla="*/ 564776 w 564776"/>
                <a:gd name="connsiteY2" fmla="*/ 773141 h 1546282"/>
                <a:gd name="connsiteX3" fmla="*/ 282388 w 564776"/>
                <a:gd name="connsiteY3" fmla="*/ 1546282 h 1546282"/>
                <a:gd name="connsiteX4" fmla="*/ 0 w 564776"/>
                <a:gd name="connsiteY4" fmla="*/ 773141 h 1546282"/>
                <a:gd name="connsiteX5" fmla="*/ 141194 w 564776"/>
                <a:gd name="connsiteY5" fmla="*/ 773141 h 1546282"/>
                <a:gd name="connsiteX6" fmla="*/ 282388 w 564776"/>
                <a:gd name="connsiteY6" fmla="*/ 1405088 h 1546282"/>
                <a:gd name="connsiteX7" fmla="*/ 423582 w 564776"/>
                <a:gd name="connsiteY7" fmla="*/ 773141 h 1546282"/>
                <a:gd name="connsiteX8" fmla="*/ 282388 w 564776"/>
                <a:gd name="connsiteY8" fmla="*/ 141194 h 1546282"/>
                <a:gd name="connsiteX9" fmla="*/ 141194 w 564776"/>
                <a:gd name="connsiteY9" fmla="*/ 773141 h 1546282"/>
                <a:gd name="connsiteX0" fmla="*/ 0 w 1021976"/>
                <a:gd name="connsiteY0" fmla="*/ 773388 h 1546735"/>
                <a:gd name="connsiteX1" fmla="*/ 282388 w 1021976"/>
                <a:gd name="connsiteY1" fmla="*/ 247 h 1546735"/>
                <a:gd name="connsiteX2" fmla="*/ 1021976 w 1021976"/>
                <a:gd name="connsiteY2" fmla="*/ 713230 h 1546735"/>
                <a:gd name="connsiteX3" fmla="*/ 282388 w 1021976"/>
                <a:gd name="connsiteY3" fmla="*/ 1546529 h 1546735"/>
                <a:gd name="connsiteX4" fmla="*/ 0 w 1021976"/>
                <a:gd name="connsiteY4" fmla="*/ 773388 h 1546735"/>
                <a:gd name="connsiteX5" fmla="*/ 141194 w 1021976"/>
                <a:gd name="connsiteY5" fmla="*/ 773388 h 1546735"/>
                <a:gd name="connsiteX6" fmla="*/ 282388 w 1021976"/>
                <a:gd name="connsiteY6" fmla="*/ 1405335 h 1546735"/>
                <a:gd name="connsiteX7" fmla="*/ 423582 w 1021976"/>
                <a:gd name="connsiteY7" fmla="*/ 773388 h 1546735"/>
                <a:gd name="connsiteX8" fmla="*/ 282388 w 1021976"/>
                <a:gd name="connsiteY8" fmla="*/ 141441 h 1546735"/>
                <a:gd name="connsiteX9" fmla="*/ 141194 w 1021976"/>
                <a:gd name="connsiteY9" fmla="*/ 773388 h 1546735"/>
                <a:gd name="connsiteX0" fmla="*/ 0 w 1030213"/>
                <a:gd name="connsiteY0" fmla="*/ 812464 h 1585811"/>
                <a:gd name="connsiteX1" fmla="*/ 282388 w 1030213"/>
                <a:gd name="connsiteY1" fmla="*/ 39323 h 1585811"/>
                <a:gd name="connsiteX2" fmla="*/ 655149 w 1030213"/>
                <a:gd name="connsiteY2" fmla="*/ 179798 h 1585811"/>
                <a:gd name="connsiteX3" fmla="*/ 1021976 w 1030213"/>
                <a:gd name="connsiteY3" fmla="*/ 752306 h 1585811"/>
                <a:gd name="connsiteX4" fmla="*/ 282388 w 1030213"/>
                <a:gd name="connsiteY4" fmla="*/ 1585605 h 1585811"/>
                <a:gd name="connsiteX5" fmla="*/ 0 w 1030213"/>
                <a:gd name="connsiteY5" fmla="*/ 812464 h 1585811"/>
                <a:gd name="connsiteX6" fmla="*/ 141194 w 1030213"/>
                <a:gd name="connsiteY6" fmla="*/ 812464 h 1585811"/>
                <a:gd name="connsiteX7" fmla="*/ 282388 w 1030213"/>
                <a:gd name="connsiteY7" fmla="*/ 1444411 h 1585811"/>
                <a:gd name="connsiteX8" fmla="*/ 423582 w 1030213"/>
                <a:gd name="connsiteY8" fmla="*/ 812464 h 1585811"/>
                <a:gd name="connsiteX9" fmla="*/ 282388 w 1030213"/>
                <a:gd name="connsiteY9" fmla="*/ 180517 h 1585811"/>
                <a:gd name="connsiteX10" fmla="*/ 141194 w 1030213"/>
                <a:gd name="connsiteY10" fmla="*/ 812464 h 1585811"/>
                <a:gd name="connsiteX0" fmla="*/ 0 w 1041870"/>
                <a:gd name="connsiteY0" fmla="*/ 870483 h 1643830"/>
                <a:gd name="connsiteX1" fmla="*/ 282388 w 1041870"/>
                <a:gd name="connsiteY1" fmla="*/ 97342 h 1643830"/>
                <a:gd name="connsiteX2" fmla="*/ 783485 w 1041870"/>
                <a:gd name="connsiteY2" fmla="*/ 89427 h 1643830"/>
                <a:gd name="connsiteX3" fmla="*/ 1021976 w 1041870"/>
                <a:gd name="connsiteY3" fmla="*/ 810325 h 1643830"/>
                <a:gd name="connsiteX4" fmla="*/ 282388 w 1041870"/>
                <a:gd name="connsiteY4" fmla="*/ 1643624 h 1643830"/>
                <a:gd name="connsiteX5" fmla="*/ 0 w 1041870"/>
                <a:gd name="connsiteY5" fmla="*/ 870483 h 1643830"/>
                <a:gd name="connsiteX6" fmla="*/ 141194 w 1041870"/>
                <a:gd name="connsiteY6" fmla="*/ 870483 h 1643830"/>
                <a:gd name="connsiteX7" fmla="*/ 282388 w 1041870"/>
                <a:gd name="connsiteY7" fmla="*/ 1502430 h 1643830"/>
                <a:gd name="connsiteX8" fmla="*/ 423582 w 1041870"/>
                <a:gd name="connsiteY8" fmla="*/ 870483 h 1643830"/>
                <a:gd name="connsiteX9" fmla="*/ 282388 w 1041870"/>
                <a:gd name="connsiteY9" fmla="*/ 238536 h 1643830"/>
                <a:gd name="connsiteX10" fmla="*/ 141194 w 1041870"/>
                <a:gd name="connsiteY10" fmla="*/ 870483 h 1643830"/>
                <a:gd name="connsiteX0" fmla="*/ 0 w 1024083"/>
                <a:gd name="connsiteY0" fmla="*/ 870483 h 1658092"/>
                <a:gd name="connsiteX1" fmla="*/ 282388 w 1024083"/>
                <a:gd name="connsiteY1" fmla="*/ 97342 h 1658092"/>
                <a:gd name="connsiteX2" fmla="*/ 783485 w 1024083"/>
                <a:gd name="connsiteY2" fmla="*/ 89427 h 1658092"/>
                <a:gd name="connsiteX3" fmla="*/ 1021976 w 1024083"/>
                <a:gd name="connsiteY3" fmla="*/ 810325 h 1658092"/>
                <a:gd name="connsiteX4" fmla="*/ 659158 w 1024083"/>
                <a:gd name="connsiteY4" fmla="*/ 1332691 h 1658092"/>
                <a:gd name="connsiteX5" fmla="*/ 282388 w 1024083"/>
                <a:gd name="connsiteY5" fmla="*/ 1643624 h 1658092"/>
                <a:gd name="connsiteX6" fmla="*/ 0 w 1024083"/>
                <a:gd name="connsiteY6" fmla="*/ 870483 h 1658092"/>
                <a:gd name="connsiteX7" fmla="*/ 141194 w 1024083"/>
                <a:gd name="connsiteY7" fmla="*/ 870483 h 1658092"/>
                <a:gd name="connsiteX8" fmla="*/ 282388 w 1024083"/>
                <a:gd name="connsiteY8" fmla="*/ 1502430 h 1658092"/>
                <a:gd name="connsiteX9" fmla="*/ 423582 w 1024083"/>
                <a:gd name="connsiteY9" fmla="*/ 870483 h 1658092"/>
                <a:gd name="connsiteX10" fmla="*/ 282388 w 1024083"/>
                <a:gd name="connsiteY10" fmla="*/ 238536 h 1658092"/>
                <a:gd name="connsiteX11" fmla="*/ 141194 w 1024083"/>
                <a:gd name="connsiteY11" fmla="*/ 870483 h 1658092"/>
                <a:gd name="connsiteX0" fmla="*/ 0 w 1059520"/>
                <a:gd name="connsiteY0" fmla="*/ 870483 h 1709542"/>
                <a:gd name="connsiteX1" fmla="*/ 282388 w 1059520"/>
                <a:gd name="connsiteY1" fmla="*/ 97342 h 1709542"/>
                <a:gd name="connsiteX2" fmla="*/ 783485 w 1059520"/>
                <a:gd name="connsiteY2" fmla="*/ 89427 h 1709542"/>
                <a:gd name="connsiteX3" fmla="*/ 1021976 w 1059520"/>
                <a:gd name="connsiteY3" fmla="*/ 810325 h 1709542"/>
                <a:gd name="connsiteX4" fmla="*/ 980000 w 1059520"/>
                <a:gd name="connsiteY4" fmla="*/ 1573322 h 1709542"/>
                <a:gd name="connsiteX5" fmla="*/ 282388 w 1059520"/>
                <a:gd name="connsiteY5" fmla="*/ 1643624 h 1709542"/>
                <a:gd name="connsiteX6" fmla="*/ 0 w 1059520"/>
                <a:gd name="connsiteY6" fmla="*/ 870483 h 1709542"/>
                <a:gd name="connsiteX7" fmla="*/ 141194 w 1059520"/>
                <a:gd name="connsiteY7" fmla="*/ 870483 h 1709542"/>
                <a:gd name="connsiteX8" fmla="*/ 282388 w 1059520"/>
                <a:gd name="connsiteY8" fmla="*/ 1502430 h 1709542"/>
                <a:gd name="connsiteX9" fmla="*/ 423582 w 1059520"/>
                <a:gd name="connsiteY9" fmla="*/ 870483 h 1709542"/>
                <a:gd name="connsiteX10" fmla="*/ 282388 w 1059520"/>
                <a:gd name="connsiteY10" fmla="*/ 238536 h 1709542"/>
                <a:gd name="connsiteX11" fmla="*/ 141194 w 1059520"/>
                <a:gd name="connsiteY11" fmla="*/ 870483 h 1709542"/>
                <a:gd name="connsiteX0" fmla="*/ 0 w 1032546"/>
                <a:gd name="connsiteY0" fmla="*/ 870483 h 1709542"/>
                <a:gd name="connsiteX1" fmla="*/ 282388 w 1032546"/>
                <a:gd name="connsiteY1" fmla="*/ 97342 h 1709542"/>
                <a:gd name="connsiteX2" fmla="*/ 783485 w 1032546"/>
                <a:gd name="connsiteY2" fmla="*/ 89427 h 1709542"/>
                <a:gd name="connsiteX3" fmla="*/ 1021976 w 1032546"/>
                <a:gd name="connsiteY3" fmla="*/ 810325 h 1709542"/>
                <a:gd name="connsiteX4" fmla="*/ 980000 w 1032546"/>
                <a:gd name="connsiteY4" fmla="*/ 1573322 h 1709542"/>
                <a:gd name="connsiteX5" fmla="*/ 282388 w 1032546"/>
                <a:gd name="connsiteY5" fmla="*/ 1643624 h 1709542"/>
                <a:gd name="connsiteX6" fmla="*/ 0 w 1032546"/>
                <a:gd name="connsiteY6" fmla="*/ 870483 h 1709542"/>
                <a:gd name="connsiteX7" fmla="*/ 141194 w 1032546"/>
                <a:gd name="connsiteY7" fmla="*/ 870483 h 1709542"/>
                <a:gd name="connsiteX8" fmla="*/ 282388 w 1032546"/>
                <a:gd name="connsiteY8" fmla="*/ 1502430 h 1709542"/>
                <a:gd name="connsiteX9" fmla="*/ 423582 w 1032546"/>
                <a:gd name="connsiteY9" fmla="*/ 870483 h 1709542"/>
                <a:gd name="connsiteX10" fmla="*/ 282388 w 1032546"/>
                <a:gd name="connsiteY10" fmla="*/ 238536 h 1709542"/>
                <a:gd name="connsiteX11" fmla="*/ 141194 w 1032546"/>
                <a:gd name="connsiteY11" fmla="*/ 870483 h 1709542"/>
                <a:gd name="connsiteX0" fmla="*/ 0 w 1022929"/>
                <a:gd name="connsiteY0" fmla="*/ 870483 h 1687817"/>
                <a:gd name="connsiteX1" fmla="*/ 282388 w 1022929"/>
                <a:gd name="connsiteY1" fmla="*/ 97342 h 1687817"/>
                <a:gd name="connsiteX2" fmla="*/ 783485 w 1022929"/>
                <a:gd name="connsiteY2" fmla="*/ 89427 h 1687817"/>
                <a:gd name="connsiteX3" fmla="*/ 1021976 w 1022929"/>
                <a:gd name="connsiteY3" fmla="*/ 810325 h 1687817"/>
                <a:gd name="connsiteX4" fmla="*/ 867705 w 1022929"/>
                <a:gd name="connsiteY4" fmla="*/ 1509153 h 1687817"/>
                <a:gd name="connsiteX5" fmla="*/ 282388 w 1022929"/>
                <a:gd name="connsiteY5" fmla="*/ 1643624 h 1687817"/>
                <a:gd name="connsiteX6" fmla="*/ 0 w 1022929"/>
                <a:gd name="connsiteY6" fmla="*/ 870483 h 1687817"/>
                <a:gd name="connsiteX7" fmla="*/ 141194 w 1022929"/>
                <a:gd name="connsiteY7" fmla="*/ 870483 h 1687817"/>
                <a:gd name="connsiteX8" fmla="*/ 282388 w 1022929"/>
                <a:gd name="connsiteY8" fmla="*/ 1502430 h 1687817"/>
                <a:gd name="connsiteX9" fmla="*/ 423582 w 1022929"/>
                <a:gd name="connsiteY9" fmla="*/ 870483 h 1687817"/>
                <a:gd name="connsiteX10" fmla="*/ 282388 w 1022929"/>
                <a:gd name="connsiteY10" fmla="*/ 238536 h 1687817"/>
                <a:gd name="connsiteX11" fmla="*/ 141194 w 1022929"/>
                <a:gd name="connsiteY11" fmla="*/ 870483 h 1687817"/>
                <a:gd name="connsiteX0" fmla="*/ 0 w 1025541"/>
                <a:gd name="connsiteY0" fmla="*/ 870483 h 1694992"/>
                <a:gd name="connsiteX1" fmla="*/ 282388 w 1025541"/>
                <a:gd name="connsiteY1" fmla="*/ 97342 h 1694992"/>
                <a:gd name="connsiteX2" fmla="*/ 783485 w 1025541"/>
                <a:gd name="connsiteY2" fmla="*/ 89427 h 1694992"/>
                <a:gd name="connsiteX3" fmla="*/ 1021976 w 1025541"/>
                <a:gd name="connsiteY3" fmla="*/ 810325 h 1694992"/>
                <a:gd name="connsiteX4" fmla="*/ 923853 w 1025541"/>
                <a:gd name="connsiteY4" fmla="*/ 1533216 h 1694992"/>
                <a:gd name="connsiteX5" fmla="*/ 282388 w 1025541"/>
                <a:gd name="connsiteY5" fmla="*/ 1643624 h 1694992"/>
                <a:gd name="connsiteX6" fmla="*/ 0 w 1025541"/>
                <a:gd name="connsiteY6" fmla="*/ 870483 h 1694992"/>
                <a:gd name="connsiteX7" fmla="*/ 141194 w 1025541"/>
                <a:gd name="connsiteY7" fmla="*/ 870483 h 1694992"/>
                <a:gd name="connsiteX8" fmla="*/ 282388 w 1025541"/>
                <a:gd name="connsiteY8" fmla="*/ 1502430 h 1694992"/>
                <a:gd name="connsiteX9" fmla="*/ 423582 w 1025541"/>
                <a:gd name="connsiteY9" fmla="*/ 870483 h 1694992"/>
                <a:gd name="connsiteX10" fmla="*/ 282388 w 1025541"/>
                <a:gd name="connsiteY10" fmla="*/ 238536 h 1694992"/>
                <a:gd name="connsiteX11" fmla="*/ 141194 w 1025541"/>
                <a:gd name="connsiteY11" fmla="*/ 870483 h 1694992"/>
                <a:gd name="connsiteX0" fmla="*/ 0 w 1024521"/>
                <a:gd name="connsiteY0" fmla="*/ 870483 h 1691271"/>
                <a:gd name="connsiteX1" fmla="*/ 282388 w 1024521"/>
                <a:gd name="connsiteY1" fmla="*/ 97342 h 1691271"/>
                <a:gd name="connsiteX2" fmla="*/ 783485 w 1024521"/>
                <a:gd name="connsiteY2" fmla="*/ 89427 h 1691271"/>
                <a:gd name="connsiteX3" fmla="*/ 1021976 w 1024521"/>
                <a:gd name="connsiteY3" fmla="*/ 810325 h 1691271"/>
                <a:gd name="connsiteX4" fmla="*/ 907811 w 1024521"/>
                <a:gd name="connsiteY4" fmla="*/ 1521185 h 1691271"/>
                <a:gd name="connsiteX5" fmla="*/ 282388 w 1024521"/>
                <a:gd name="connsiteY5" fmla="*/ 1643624 h 1691271"/>
                <a:gd name="connsiteX6" fmla="*/ 0 w 1024521"/>
                <a:gd name="connsiteY6" fmla="*/ 870483 h 1691271"/>
                <a:gd name="connsiteX7" fmla="*/ 141194 w 1024521"/>
                <a:gd name="connsiteY7" fmla="*/ 870483 h 1691271"/>
                <a:gd name="connsiteX8" fmla="*/ 282388 w 1024521"/>
                <a:gd name="connsiteY8" fmla="*/ 1502430 h 1691271"/>
                <a:gd name="connsiteX9" fmla="*/ 423582 w 1024521"/>
                <a:gd name="connsiteY9" fmla="*/ 870483 h 1691271"/>
                <a:gd name="connsiteX10" fmla="*/ 282388 w 1024521"/>
                <a:gd name="connsiteY10" fmla="*/ 238536 h 1691271"/>
                <a:gd name="connsiteX11" fmla="*/ 141194 w 1024521"/>
                <a:gd name="connsiteY11" fmla="*/ 870483 h 1691271"/>
                <a:gd name="connsiteX0" fmla="*/ 0 w 1026787"/>
                <a:gd name="connsiteY0" fmla="*/ 870483 h 1691271"/>
                <a:gd name="connsiteX1" fmla="*/ 282388 w 1026787"/>
                <a:gd name="connsiteY1" fmla="*/ 97342 h 1691271"/>
                <a:gd name="connsiteX2" fmla="*/ 783485 w 1026787"/>
                <a:gd name="connsiteY2" fmla="*/ 89427 h 1691271"/>
                <a:gd name="connsiteX3" fmla="*/ 1021976 w 1026787"/>
                <a:gd name="connsiteY3" fmla="*/ 810325 h 1691271"/>
                <a:gd name="connsiteX4" fmla="*/ 907811 w 1026787"/>
                <a:gd name="connsiteY4" fmla="*/ 1521185 h 1691271"/>
                <a:gd name="connsiteX5" fmla="*/ 282388 w 1026787"/>
                <a:gd name="connsiteY5" fmla="*/ 1643624 h 1691271"/>
                <a:gd name="connsiteX6" fmla="*/ 0 w 1026787"/>
                <a:gd name="connsiteY6" fmla="*/ 870483 h 1691271"/>
                <a:gd name="connsiteX7" fmla="*/ 141194 w 1026787"/>
                <a:gd name="connsiteY7" fmla="*/ 870483 h 1691271"/>
                <a:gd name="connsiteX8" fmla="*/ 282388 w 1026787"/>
                <a:gd name="connsiteY8" fmla="*/ 1502430 h 1691271"/>
                <a:gd name="connsiteX9" fmla="*/ 423582 w 1026787"/>
                <a:gd name="connsiteY9" fmla="*/ 870483 h 1691271"/>
                <a:gd name="connsiteX10" fmla="*/ 282388 w 1026787"/>
                <a:gd name="connsiteY10" fmla="*/ 238536 h 1691271"/>
                <a:gd name="connsiteX11" fmla="*/ 141194 w 1026787"/>
                <a:gd name="connsiteY11" fmla="*/ 870483 h 1691271"/>
                <a:gd name="connsiteX0" fmla="*/ 0 w 1024000"/>
                <a:gd name="connsiteY0" fmla="*/ 870483 h 1706351"/>
                <a:gd name="connsiteX1" fmla="*/ 282388 w 1024000"/>
                <a:gd name="connsiteY1" fmla="*/ 97342 h 1706351"/>
                <a:gd name="connsiteX2" fmla="*/ 783485 w 1024000"/>
                <a:gd name="connsiteY2" fmla="*/ 89427 h 1706351"/>
                <a:gd name="connsiteX3" fmla="*/ 1021976 w 1024000"/>
                <a:gd name="connsiteY3" fmla="*/ 810325 h 1706351"/>
                <a:gd name="connsiteX4" fmla="*/ 875727 w 1024000"/>
                <a:gd name="connsiteY4" fmla="*/ 1565300 h 1706351"/>
                <a:gd name="connsiteX5" fmla="*/ 282388 w 1024000"/>
                <a:gd name="connsiteY5" fmla="*/ 1643624 h 1706351"/>
                <a:gd name="connsiteX6" fmla="*/ 0 w 1024000"/>
                <a:gd name="connsiteY6" fmla="*/ 870483 h 1706351"/>
                <a:gd name="connsiteX7" fmla="*/ 141194 w 1024000"/>
                <a:gd name="connsiteY7" fmla="*/ 870483 h 1706351"/>
                <a:gd name="connsiteX8" fmla="*/ 282388 w 1024000"/>
                <a:gd name="connsiteY8" fmla="*/ 1502430 h 1706351"/>
                <a:gd name="connsiteX9" fmla="*/ 423582 w 1024000"/>
                <a:gd name="connsiteY9" fmla="*/ 870483 h 1706351"/>
                <a:gd name="connsiteX10" fmla="*/ 282388 w 1024000"/>
                <a:gd name="connsiteY10" fmla="*/ 238536 h 1706351"/>
                <a:gd name="connsiteX11" fmla="*/ 141194 w 1024000"/>
                <a:gd name="connsiteY11" fmla="*/ 870483 h 1706351"/>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792183 h 1628051"/>
                <a:gd name="connsiteX1" fmla="*/ 282388 w 1024000"/>
                <a:gd name="connsiteY1" fmla="*/ 19042 h 1628051"/>
                <a:gd name="connsiteX2" fmla="*/ 783485 w 1024000"/>
                <a:gd name="connsiteY2" fmla="*/ 11127 h 1628051"/>
                <a:gd name="connsiteX3" fmla="*/ 1021976 w 1024000"/>
                <a:gd name="connsiteY3" fmla="*/ 732025 h 1628051"/>
                <a:gd name="connsiteX4" fmla="*/ 875727 w 1024000"/>
                <a:gd name="connsiteY4" fmla="*/ 1487000 h 1628051"/>
                <a:gd name="connsiteX5" fmla="*/ 282388 w 1024000"/>
                <a:gd name="connsiteY5" fmla="*/ 1565324 h 1628051"/>
                <a:gd name="connsiteX6" fmla="*/ 0 w 1024000"/>
                <a:gd name="connsiteY6" fmla="*/ 792183 h 1628051"/>
                <a:gd name="connsiteX7" fmla="*/ 141194 w 1024000"/>
                <a:gd name="connsiteY7" fmla="*/ 792183 h 1628051"/>
                <a:gd name="connsiteX8" fmla="*/ 282388 w 1024000"/>
                <a:gd name="connsiteY8" fmla="*/ 1424130 h 1628051"/>
                <a:gd name="connsiteX9" fmla="*/ 423582 w 1024000"/>
                <a:gd name="connsiteY9" fmla="*/ 792183 h 1628051"/>
                <a:gd name="connsiteX10" fmla="*/ 282388 w 1024000"/>
                <a:gd name="connsiteY10" fmla="*/ 160236 h 1628051"/>
                <a:gd name="connsiteX11" fmla="*/ 141194 w 1024000"/>
                <a:gd name="connsiteY11" fmla="*/ 792183 h 1628051"/>
                <a:gd name="connsiteX0" fmla="*/ 0 w 1024000"/>
                <a:gd name="connsiteY0" fmla="*/ 779274 h 1615142"/>
                <a:gd name="connsiteX1" fmla="*/ 282388 w 1024000"/>
                <a:gd name="connsiteY1" fmla="*/ 6133 h 1615142"/>
                <a:gd name="connsiteX2" fmla="*/ 783485 w 1024000"/>
                <a:gd name="connsiteY2" fmla="*/ 18271 h 1615142"/>
                <a:gd name="connsiteX3" fmla="*/ 1021976 w 1024000"/>
                <a:gd name="connsiteY3" fmla="*/ 719116 h 1615142"/>
                <a:gd name="connsiteX4" fmla="*/ 875727 w 1024000"/>
                <a:gd name="connsiteY4" fmla="*/ 1474091 h 1615142"/>
                <a:gd name="connsiteX5" fmla="*/ 282388 w 1024000"/>
                <a:gd name="connsiteY5" fmla="*/ 1552415 h 1615142"/>
                <a:gd name="connsiteX6" fmla="*/ 0 w 1024000"/>
                <a:gd name="connsiteY6" fmla="*/ 779274 h 1615142"/>
                <a:gd name="connsiteX7" fmla="*/ 141194 w 1024000"/>
                <a:gd name="connsiteY7" fmla="*/ 779274 h 1615142"/>
                <a:gd name="connsiteX8" fmla="*/ 282388 w 1024000"/>
                <a:gd name="connsiteY8" fmla="*/ 1411221 h 1615142"/>
                <a:gd name="connsiteX9" fmla="*/ 423582 w 1024000"/>
                <a:gd name="connsiteY9" fmla="*/ 779274 h 1615142"/>
                <a:gd name="connsiteX10" fmla="*/ 282388 w 1024000"/>
                <a:gd name="connsiteY10" fmla="*/ 147327 h 1615142"/>
                <a:gd name="connsiteX11" fmla="*/ 141194 w 1024000"/>
                <a:gd name="connsiteY11" fmla="*/ 779274 h 1615142"/>
                <a:gd name="connsiteX0" fmla="*/ 0 w 1024000"/>
                <a:gd name="connsiteY0" fmla="*/ 792182 h 1628050"/>
                <a:gd name="connsiteX1" fmla="*/ 282388 w 1024000"/>
                <a:gd name="connsiteY1" fmla="*/ 19041 h 1628050"/>
                <a:gd name="connsiteX2" fmla="*/ 783485 w 1024000"/>
                <a:gd name="connsiteY2" fmla="*/ 11126 h 1628050"/>
                <a:gd name="connsiteX3" fmla="*/ 1021976 w 1024000"/>
                <a:gd name="connsiteY3" fmla="*/ 732024 h 1628050"/>
                <a:gd name="connsiteX4" fmla="*/ 875727 w 1024000"/>
                <a:gd name="connsiteY4" fmla="*/ 1486999 h 1628050"/>
                <a:gd name="connsiteX5" fmla="*/ 282388 w 1024000"/>
                <a:gd name="connsiteY5" fmla="*/ 1565323 h 1628050"/>
                <a:gd name="connsiteX6" fmla="*/ 0 w 1024000"/>
                <a:gd name="connsiteY6" fmla="*/ 792182 h 1628050"/>
                <a:gd name="connsiteX7" fmla="*/ 141194 w 1024000"/>
                <a:gd name="connsiteY7" fmla="*/ 792182 h 1628050"/>
                <a:gd name="connsiteX8" fmla="*/ 282388 w 1024000"/>
                <a:gd name="connsiteY8" fmla="*/ 1424129 h 1628050"/>
                <a:gd name="connsiteX9" fmla="*/ 423582 w 1024000"/>
                <a:gd name="connsiteY9" fmla="*/ 792182 h 1628050"/>
                <a:gd name="connsiteX10" fmla="*/ 282388 w 1024000"/>
                <a:gd name="connsiteY10" fmla="*/ 160235 h 1628050"/>
                <a:gd name="connsiteX11" fmla="*/ 141194 w 1024000"/>
                <a:gd name="connsiteY11" fmla="*/ 792182 h 1628050"/>
                <a:gd name="connsiteX0" fmla="*/ 334 w 1024334"/>
                <a:gd name="connsiteY0" fmla="*/ 801704 h 1637572"/>
                <a:gd name="connsiteX1" fmla="*/ 238606 w 1024334"/>
                <a:gd name="connsiteY1" fmla="*/ 4500 h 1637572"/>
                <a:gd name="connsiteX2" fmla="*/ 783819 w 1024334"/>
                <a:gd name="connsiteY2" fmla="*/ 20648 h 1637572"/>
                <a:gd name="connsiteX3" fmla="*/ 1022310 w 1024334"/>
                <a:gd name="connsiteY3" fmla="*/ 741546 h 1637572"/>
                <a:gd name="connsiteX4" fmla="*/ 876061 w 1024334"/>
                <a:gd name="connsiteY4" fmla="*/ 1496521 h 1637572"/>
                <a:gd name="connsiteX5" fmla="*/ 282722 w 1024334"/>
                <a:gd name="connsiteY5" fmla="*/ 1574845 h 1637572"/>
                <a:gd name="connsiteX6" fmla="*/ 334 w 1024334"/>
                <a:gd name="connsiteY6" fmla="*/ 801704 h 1637572"/>
                <a:gd name="connsiteX7" fmla="*/ 141528 w 1024334"/>
                <a:gd name="connsiteY7" fmla="*/ 801704 h 1637572"/>
                <a:gd name="connsiteX8" fmla="*/ 282722 w 1024334"/>
                <a:gd name="connsiteY8" fmla="*/ 1433651 h 1637572"/>
                <a:gd name="connsiteX9" fmla="*/ 423916 w 1024334"/>
                <a:gd name="connsiteY9" fmla="*/ 801704 h 1637572"/>
                <a:gd name="connsiteX10" fmla="*/ 282722 w 1024334"/>
                <a:gd name="connsiteY10" fmla="*/ 169757 h 1637572"/>
                <a:gd name="connsiteX11" fmla="*/ 141528 w 1024334"/>
                <a:gd name="connsiteY11" fmla="*/ 801704 h 1637572"/>
                <a:gd name="connsiteX0" fmla="*/ 334 w 1024561"/>
                <a:gd name="connsiteY0" fmla="*/ 816307 h 1652175"/>
                <a:gd name="connsiteX1" fmla="*/ 238606 w 1024561"/>
                <a:gd name="connsiteY1" fmla="*/ 19103 h 1652175"/>
                <a:gd name="connsiteX2" fmla="*/ 777783 w 1024561"/>
                <a:gd name="connsiteY2" fmla="*/ 11108 h 1652175"/>
                <a:gd name="connsiteX3" fmla="*/ 1022310 w 1024561"/>
                <a:gd name="connsiteY3" fmla="*/ 756149 h 1652175"/>
                <a:gd name="connsiteX4" fmla="*/ 876061 w 1024561"/>
                <a:gd name="connsiteY4" fmla="*/ 1511124 h 1652175"/>
                <a:gd name="connsiteX5" fmla="*/ 282722 w 1024561"/>
                <a:gd name="connsiteY5" fmla="*/ 1589448 h 1652175"/>
                <a:gd name="connsiteX6" fmla="*/ 334 w 1024561"/>
                <a:gd name="connsiteY6" fmla="*/ 816307 h 1652175"/>
                <a:gd name="connsiteX7" fmla="*/ 141528 w 1024561"/>
                <a:gd name="connsiteY7" fmla="*/ 816307 h 1652175"/>
                <a:gd name="connsiteX8" fmla="*/ 282722 w 1024561"/>
                <a:gd name="connsiteY8" fmla="*/ 1448254 h 1652175"/>
                <a:gd name="connsiteX9" fmla="*/ 423916 w 1024561"/>
                <a:gd name="connsiteY9" fmla="*/ 816307 h 1652175"/>
                <a:gd name="connsiteX10" fmla="*/ 282722 w 1024561"/>
                <a:gd name="connsiteY10" fmla="*/ 184360 h 1652175"/>
                <a:gd name="connsiteX11" fmla="*/ 141528 w 1024561"/>
                <a:gd name="connsiteY11" fmla="*/ 816307 h 1652175"/>
                <a:gd name="connsiteX0" fmla="*/ 334 w 1024224"/>
                <a:gd name="connsiteY0" fmla="*/ 809712 h 1645580"/>
                <a:gd name="connsiteX1" fmla="*/ 238606 w 1024224"/>
                <a:gd name="connsiteY1" fmla="*/ 12508 h 1645580"/>
                <a:gd name="connsiteX2" fmla="*/ 786837 w 1024224"/>
                <a:gd name="connsiteY2" fmla="*/ 13566 h 1645580"/>
                <a:gd name="connsiteX3" fmla="*/ 1022310 w 1024224"/>
                <a:gd name="connsiteY3" fmla="*/ 749554 h 1645580"/>
                <a:gd name="connsiteX4" fmla="*/ 876061 w 1024224"/>
                <a:gd name="connsiteY4" fmla="*/ 1504529 h 1645580"/>
                <a:gd name="connsiteX5" fmla="*/ 282722 w 1024224"/>
                <a:gd name="connsiteY5" fmla="*/ 1582853 h 1645580"/>
                <a:gd name="connsiteX6" fmla="*/ 334 w 1024224"/>
                <a:gd name="connsiteY6" fmla="*/ 809712 h 1645580"/>
                <a:gd name="connsiteX7" fmla="*/ 141528 w 1024224"/>
                <a:gd name="connsiteY7" fmla="*/ 809712 h 1645580"/>
                <a:gd name="connsiteX8" fmla="*/ 282722 w 1024224"/>
                <a:gd name="connsiteY8" fmla="*/ 1441659 h 1645580"/>
                <a:gd name="connsiteX9" fmla="*/ 423916 w 1024224"/>
                <a:gd name="connsiteY9" fmla="*/ 809712 h 1645580"/>
                <a:gd name="connsiteX10" fmla="*/ 282722 w 1024224"/>
                <a:gd name="connsiteY10" fmla="*/ 177765 h 1645580"/>
                <a:gd name="connsiteX11" fmla="*/ 141528 w 1024224"/>
                <a:gd name="connsiteY11" fmla="*/ 809712 h 1645580"/>
                <a:gd name="connsiteX0" fmla="*/ 334 w 1024224"/>
                <a:gd name="connsiteY0" fmla="*/ 800969 h 1636837"/>
                <a:gd name="connsiteX1" fmla="*/ 238606 w 1024224"/>
                <a:gd name="connsiteY1" fmla="*/ 3765 h 1636837"/>
                <a:gd name="connsiteX2" fmla="*/ 786837 w 1024224"/>
                <a:gd name="connsiteY2" fmla="*/ 4823 h 1636837"/>
                <a:gd name="connsiteX3" fmla="*/ 1022310 w 1024224"/>
                <a:gd name="connsiteY3" fmla="*/ 740811 h 1636837"/>
                <a:gd name="connsiteX4" fmla="*/ 876061 w 1024224"/>
                <a:gd name="connsiteY4" fmla="*/ 1495786 h 1636837"/>
                <a:gd name="connsiteX5" fmla="*/ 282722 w 1024224"/>
                <a:gd name="connsiteY5" fmla="*/ 1574110 h 1636837"/>
                <a:gd name="connsiteX6" fmla="*/ 334 w 1024224"/>
                <a:gd name="connsiteY6" fmla="*/ 800969 h 1636837"/>
                <a:gd name="connsiteX7" fmla="*/ 141528 w 1024224"/>
                <a:gd name="connsiteY7" fmla="*/ 800969 h 1636837"/>
                <a:gd name="connsiteX8" fmla="*/ 282722 w 1024224"/>
                <a:gd name="connsiteY8" fmla="*/ 1432916 h 1636837"/>
                <a:gd name="connsiteX9" fmla="*/ 423916 w 1024224"/>
                <a:gd name="connsiteY9" fmla="*/ 800969 h 1636837"/>
                <a:gd name="connsiteX10" fmla="*/ 282722 w 1024224"/>
                <a:gd name="connsiteY10" fmla="*/ 169022 h 1636837"/>
                <a:gd name="connsiteX11" fmla="*/ 141528 w 1024224"/>
                <a:gd name="connsiteY11" fmla="*/ 800969 h 1636837"/>
                <a:gd name="connsiteX0" fmla="*/ 334 w 1024224"/>
                <a:gd name="connsiteY0" fmla="*/ 804626 h 1640494"/>
                <a:gd name="connsiteX1" fmla="*/ 238606 w 1024224"/>
                <a:gd name="connsiteY1" fmla="*/ 7422 h 1640494"/>
                <a:gd name="connsiteX2" fmla="*/ 786837 w 1024224"/>
                <a:gd name="connsiteY2" fmla="*/ 2444 h 1640494"/>
                <a:gd name="connsiteX3" fmla="*/ 1022310 w 1024224"/>
                <a:gd name="connsiteY3" fmla="*/ 744468 h 1640494"/>
                <a:gd name="connsiteX4" fmla="*/ 876061 w 1024224"/>
                <a:gd name="connsiteY4" fmla="*/ 1499443 h 1640494"/>
                <a:gd name="connsiteX5" fmla="*/ 282722 w 1024224"/>
                <a:gd name="connsiteY5" fmla="*/ 1577767 h 1640494"/>
                <a:gd name="connsiteX6" fmla="*/ 334 w 1024224"/>
                <a:gd name="connsiteY6" fmla="*/ 804626 h 1640494"/>
                <a:gd name="connsiteX7" fmla="*/ 141528 w 1024224"/>
                <a:gd name="connsiteY7" fmla="*/ 804626 h 1640494"/>
                <a:gd name="connsiteX8" fmla="*/ 282722 w 1024224"/>
                <a:gd name="connsiteY8" fmla="*/ 1436573 h 1640494"/>
                <a:gd name="connsiteX9" fmla="*/ 423916 w 1024224"/>
                <a:gd name="connsiteY9" fmla="*/ 804626 h 1640494"/>
                <a:gd name="connsiteX10" fmla="*/ 282722 w 1024224"/>
                <a:gd name="connsiteY10" fmla="*/ 172679 h 1640494"/>
                <a:gd name="connsiteX11" fmla="*/ 141528 w 1024224"/>
                <a:gd name="connsiteY11" fmla="*/ 804626 h 1640494"/>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75323"/>
                <a:gd name="connsiteX1" fmla="*/ 238606 w 1024224"/>
                <a:gd name="connsiteY1" fmla="*/ 4978 h 1575323"/>
                <a:gd name="connsiteX2" fmla="*/ 786837 w 1024224"/>
                <a:gd name="connsiteY2" fmla="*/ 0 h 1575323"/>
                <a:gd name="connsiteX3" fmla="*/ 1022310 w 1024224"/>
                <a:gd name="connsiteY3" fmla="*/ 742024 h 1575323"/>
                <a:gd name="connsiteX4" fmla="*/ 876061 w 1024224"/>
                <a:gd name="connsiteY4" fmla="*/ 1496999 h 1575323"/>
                <a:gd name="connsiteX5" fmla="*/ 282722 w 1024224"/>
                <a:gd name="connsiteY5" fmla="*/ 1575323 h 1575323"/>
                <a:gd name="connsiteX6" fmla="*/ 334 w 1024224"/>
                <a:gd name="connsiteY6" fmla="*/ 802182 h 1575323"/>
                <a:gd name="connsiteX7" fmla="*/ 141528 w 1024224"/>
                <a:gd name="connsiteY7" fmla="*/ 802182 h 1575323"/>
                <a:gd name="connsiteX8" fmla="*/ 282722 w 1024224"/>
                <a:gd name="connsiteY8" fmla="*/ 1434129 h 1575323"/>
                <a:gd name="connsiteX9" fmla="*/ 423916 w 1024224"/>
                <a:gd name="connsiteY9" fmla="*/ 802182 h 1575323"/>
                <a:gd name="connsiteX10" fmla="*/ 282722 w 1024224"/>
                <a:gd name="connsiteY10" fmla="*/ 170235 h 1575323"/>
                <a:gd name="connsiteX11" fmla="*/ 141528 w 1024224"/>
                <a:gd name="connsiteY11" fmla="*/ 802182 h 1575323"/>
                <a:gd name="connsiteX0" fmla="*/ 334 w 1022370"/>
                <a:gd name="connsiteY0" fmla="*/ 802182 h 1591544"/>
                <a:gd name="connsiteX1" fmla="*/ 238606 w 1022370"/>
                <a:gd name="connsiteY1" fmla="*/ 4978 h 1591544"/>
                <a:gd name="connsiteX2" fmla="*/ 786837 w 1022370"/>
                <a:gd name="connsiteY2" fmla="*/ 0 h 1591544"/>
                <a:gd name="connsiteX3" fmla="*/ 1022310 w 1022370"/>
                <a:gd name="connsiteY3" fmla="*/ 742024 h 1591544"/>
                <a:gd name="connsiteX4" fmla="*/ 806651 w 1022370"/>
                <a:gd name="connsiteY4" fmla="*/ 1578480 h 1591544"/>
                <a:gd name="connsiteX5" fmla="*/ 282722 w 1022370"/>
                <a:gd name="connsiteY5" fmla="*/ 1575323 h 1591544"/>
                <a:gd name="connsiteX6" fmla="*/ 334 w 1022370"/>
                <a:gd name="connsiteY6" fmla="*/ 802182 h 1591544"/>
                <a:gd name="connsiteX7" fmla="*/ 141528 w 1022370"/>
                <a:gd name="connsiteY7" fmla="*/ 802182 h 1591544"/>
                <a:gd name="connsiteX8" fmla="*/ 282722 w 1022370"/>
                <a:gd name="connsiteY8" fmla="*/ 1434129 h 1591544"/>
                <a:gd name="connsiteX9" fmla="*/ 423916 w 1022370"/>
                <a:gd name="connsiteY9" fmla="*/ 802182 h 1591544"/>
                <a:gd name="connsiteX10" fmla="*/ 282722 w 1022370"/>
                <a:gd name="connsiteY10" fmla="*/ 170235 h 1591544"/>
                <a:gd name="connsiteX11" fmla="*/ 141528 w 1022370"/>
                <a:gd name="connsiteY11" fmla="*/ 802182 h 1591544"/>
                <a:gd name="connsiteX0" fmla="*/ 334 w 1022310"/>
                <a:gd name="connsiteY0" fmla="*/ 802182 h 1576985"/>
                <a:gd name="connsiteX1" fmla="*/ 238606 w 1022310"/>
                <a:gd name="connsiteY1" fmla="*/ 4978 h 1576985"/>
                <a:gd name="connsiteX2" fmla="*/ 786837 w 1022310"/>
                <a:gd name="connsiteY2" fmla="*/ 0 h 1576985"/>
                <a:gd name="connsiteX3" fmla="*/ 1022310 w 1022310"/>
                <a:gd name="connsiteY3" fmla="*/ 742024 h 1576985"/>
                <a:gd name="connsiteX4" fmla="*/ 788544 w 1022310"/>
                <a:gd name="connsiteY4" fmla="*/ 1557355 h 1576985"/>
                <a:gd name="connsiteX5" fmla="*/ 282722 w 1022310"/>
                <a:gd name="connsiteY5" fmla="*/ 1575323 h 1576985"/>
                <a:gd name="connsiteX6" fmla="*/ 334 w 1022310"/>
                <a:gd name="connsiteY6" fmla="*/ 802182 h 1576985"/>
                <a:gd name="connsiteX7" fmla="*/ 141528 w 1022310"/>
                <a:gd name="connsiteY7" fmla="*/ 802182 h 1576985"/>
                <a:gd name="connsiteX8" fmla="*/ 282722 w 1022310"/>
                <a:gd name="connsiteY8" fmla="*/ 1434129 h 1576985"/>
                <a:gd name="connsiteX9" fmla="*/ 423916 w 1022310"/>
                <a:gd name="connsiteY9" fmla="*/ 802182 h 1576985"/>
                <a:gd name="connsiteX10" fmla="*/ 282722 w 1022310"/>
                <a:gd name="connsiteY10" fmla="*/ 170235 h 1576985"/>
                <a:gd name="connsiteX11" fmla="*/ 141528 w 1022310"/>
                <a:gd name="connsiteY11" fmla="*/ 802182 h 1576985"/>
                <a:gd name="connsiteX0" fmla="*/ 334 w 1022310"/>
                <a:gd name="connsiteY0" fmla="*/ 802182 h 1575323"/>
                <a:gd name="connsiteX1" fmla="*/ 238606 w 1022310"/>
                <a:gd name="connsiteY1" fmla="*/ 4978 h 1575323"/>
                <a:gd name="connsiteX2" fmla="*/ 786837 w 1022310"/>
                <a:gd name="connsiteY2" fmla="*/ 0 h 1575323"/>
                <a:gd name="connsiteX3" fmla="*/ 1022310 w 1022310"/>
                <a:gd name="connsiteY3" fmla="*/ 742024 h 1575323"/>
                <a:gd name="connsiteX4" fmla="*/ 788544 w 1022310"/>
                <a:gd name="connsiteY4" fmla="*/ 1557355 h 1575323"/>
                <a:gd name="connsiteX5" fmla="*/ 282722 w 1022310"/>
                <a:gd name="connsiteY5" fmla="*/ 1575323 h 1575323"/>
                <a:gd name="connsiteX6" fmla="*/ 334 w 1022310"/>
                <a:gd name="connsiteY6" fmla="*/ 802182 h 1575323"/>
                <a:gd name="connsiteX7" fmla="*/ 141528 w 1022310"/>
                <a:gd name="connsiteY7" fmla="*/ 802182 h 1575323"/>
                <a:gd name="connsiteX8" fmla="*/ 282722 w 1022310"/>
                <a:gd name="connsiteY8" fmla="*/ 1434129 h 1575323"/>
                <a:gd name="connsiteX9" fmla="*/ 423916 w 1022310"/>
                <a:gd name="connsiteY9" fmla="*/ 802182 h 1575323"/>
                <a:gd name="connsiteX10" fmla="*/ 282722 w 1022310"/>
                <a:gd name="connsiteY10" fmla="*/ 170235 h 1575323"/>
                <a:gd name="connsiteX11" fmla="*/ 141528 w 1022310"/>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538594 w 1022336"/>
                <a:gd name="connsiteY9" fmla="*/ 77502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51077 w 1022336"/>
                <a:gd name="connsiteY9" fmla="*/ 765968 h 1575323"/>
                <a:gd name="connsiteX10" fmla="*/ 258579 w 1022336"/>
                <a:gd name="connsiteY10" fmla="*/ 227573 h 1575323"/>
                <a:gd name="connsiteX11" fmla="*/ 141528 w 1022336"/>
                <a:gd name="connsiteY11" fmla="*/ 802182 h 15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36" h="1575323">
                  <a:moveTo>
                    <a:pt x="334" y="802182"/>
                  </a:moveTo>
                  <a:cubicBezTo>
                    <a:pt x="-7019" y="540458"/>
                    <a:pt x="108025" y="135154"/>
                    <a:pt x="238606" y="4978"/>
                  </a:cubicBezTo>
                  <a:cubicBezTo>
                    <a:pt x="369187" y="-872"/>
                    <a:pt x="618463" y="6608"/>
                    <a:pt x="786837" y="0"/>
                  </a:cubicBezTo>
                  <a:cubicBezTo>
                    <a:pt x="940280" y="112795"/>
                    <a:pt x="1024037" y="479950"/>
                    <a:pt x="1022310" y="742024"/>
                  </a:cubicBezTo>
                  <a:cubicBezTo>
                    <a:pt x="1020583" y="1004098"/>
                    <a:pt x="927017" y="1342352"/>
                    <a:pt x="776473" y="1572444"/>
                  </a:cubicBezTo>
                  <a:cubicBezTo>
                    <a:pt x="610959" y="1575525"/>
                    <a:pt x="470925" y="1570413"/>
                    <a:pt x="282722" y="1575323"/>
                  </a:cubicBezTo>
                  <a:cubicBezTo>
                    <a:pt x="136768" y="1459520"/>
                    <a:pt x="7687" y="1063906"/>
                    <a:pt x="334" y="802182"/>
                  </a:cubicBezTo>
                  <a:close/>
                  <a:moveTo>
                    <a:pt x="141528" y="802182"/>
                  </a:moveTo>
                  <a:cubicBezTo>
                    <a:pt x="142534" y="990700"/>
                    <a:pt x="213024" y="1364719"/>
                    <a:pt x="264615" y="1358683"/>
                  </a:cubicBezTo>
                  <a:cubicBezTo>
                    <a:pt x="316207" y="1352647"/>
                    <a:pt x="451077" y="1114983"/>
                    <a:pt x="451077" y="765968"/>
                  </a:cubicBezTo>
                  <a:cubicBezTo>
                    <a:pt x="451077" y="416953"/>
                    <a:pt x="310171" y="221537"/>
                    <a:pt x="258579" y="227573"/>
                  </a:cubicBezTo>
                  <a:cubicBezTo>
                    <a:pt x="206988" y="233609"/>
                    <a:pt x="140522" y="613664"/>
                    <a:pt x="141528" y="802182"/>
                  </a:cubicBezTo>
                  <a:close/>
                </a:path>
              </a:pathLst>
            </a:custGeom>
            <a:gradFill>
              <a:gsLst>
                <a:gs pos="50000">
                  <a:srgbClr val="61ADD1"/>
                </a:gs>
                <a:gs pos="50000">
                  <a:srgbClr val="3999C6"/>
                </a:gs>
              </a:gsLst>
              <a:lin ang="5400000" scaled="1"/>
            </a:gra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sp>
          <p:nvSpPr>
            <p:cNvPr id="140" name="Oval 139"/>
            <p:cNvSpPr/>
            <p:nvPr/>
          </p:nvSpPr>
          <p:spPr>
            <a:xfrm>
              <a:off x="8870781" y="2759551"/>
              <a:ext cx="149814" cy="479652"/>
            </a:xfrm>
            <a:prstGeom prst="ellipse">
              <a:avLst/>
            </a:prstGeom>
            <a:solidFill>
              <a:srgbClr val="0071C6"/>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latin typeface="OCR A Extended" panose="02010509020102010303" pitchFamily="50" charset="0"/>
              </a:endParaRPr>
            </a:p>
          </p:txBody>
        </p:sp>
        <p:sp>
          <p:nvSpPr>
            <p:cNvPr id="141" name="Freeform 140"/>
            <p:cNvSpPr/>
            <p:nvPr/>
          </p:nvSpPr>
          <p:spPr>
            <a:xfrm>
              <a:off x="8525770" y="2822071"/>
              <a:ext cx="465649" cy="363202"/>
            </a:xfrm>
            <a:custGeom>
              <a:avLst/>
              <a:gdLst>
                <a:gd name="connsiteX0" fmla="*/ 1542107 w 1632641"/>
                <a:gd name="connsiteY0" fmla="*/ 0 h 1385180"/>
                <a:gd name="connsiteX1" fmla="*/ 0 w 1632641"/>
                <a:gd name="connsiteY1" fmla="*/ 0 h 1385180"/>
                <a:gd name="connsiteX2" fmla="*/ 0 w 1632641"/>
                <a:gd name="connsiteY2" fmla="*/ 1385180 h 1385180"/>
                <a:gd name="connsiteX3" fmla="*/ 1632641 w 1632641"/>
                <a:gd name="connsiteY3" fmla="*/ 1385180 h 1385180"/>
                <a:gd name="connsiteX4" fmla="*/ 1542107 w 1632641"/>
                <a:gd name="connsiteY4" fmla="*/ 0 h 1385180"/>
                <a:gd name="connsiteX0" fmla="*/ 1636803 w 1636803"/>
                <a:gd name="connsiteY0" fmla="*/ 0 h 1411813"/>
                <a:gd name="connsiteX1" fmla="*/ 0 w 1636803"/>
                <a:gd name="connsiteY1" fmla="*/ 26633 h 1411813"/>
                <a:gd name="connsiteX2" fmla="*/ 0 w 1636803"/>
                <a:gd name="connsiteY2" fmla="*/ 1411813 h 1411813"/>
                <a:gd name="connsiteX3" fmla="*/ 1632641 w 1636803"/>
                <a:gd name="connsiteY3" fmla="*/ 1411813 h 1411813"/>
                <a:gd name="connsiteX4" fmla="*/ 1636803 w 1636803"/>
                <a:gd name="connsiteY4" fmla="*/ 0 h 1411813"/>
                <a:gd name="connsiteX0" fmla="*/ 1636803 w 1755578"/>
                <a:gd name="connsiteY0" fmla="*/ 0 h 1411813"/>
                <a:gd name="connsiteX1" fmla="*/ 0 w 1755578"/>
                <a:gd name="connsiteY1" fmla="*/ 26633 h 1411813"/>
                <a:gd name="connsiteX2" fmla="*/ 0 w 1755578"/>
                <a:gd name="connsiteY2" fmla="*/ 1411813 h 1411813"/>
                <a:gd name="connsiteX3" fmla="*/ 1632641 w 1755578"/>
                <a:gd name="connsiteY3" fmla="*/ 1411813 h 1411813"/>
                <a:gd name="connsiteX4" fmla="*/ 1628845 w 1755578"/>
                <a:gd name="connsiteY4" fmla="*/ 700049 h 1411813"/>
                <a:gd name="connsiteX5" fmla="*/ 1636803 w 1755578"/>
                <a:gd name="connsiteY5" fmla="*/ 0 h 1411813"/>
                <a:gd name="connsiteX0" fmla="*/ 1636803 w 1856181"/>
                <a:gd name="connsiteY0" fmla="*/ 0 h 1411813"/>
                <a:gd name="connsiteX1" fmla="*/ 0 w 1856181"/>
                <a:gd name="connsiteY1" fmla="*/ 26633 h 1411813"/>
                <a:gd name="connsiteX2" fmla="*/ 0 w 1856181"/>
                <a:gd name="connsiteY2" fmla="*/ 1411813 h 1411813"/>
                <a:gd name="connsiteX3" fmla="*/ 1632641 w 1856181"/>
                <a:gd name="connsiteY3" fmla="*/ 1411813 h 1411813"/>
                <a:gd name="connsiteX4" fmla="*/ 1850787 w 1856181"/>
                <a:gd name="connsiteY4" fmla="*/ 655660 h 1411813"/>
                <a:gd name="connsiteX5" fmla="*/ 1636803 w 1856181"/>
                <a:gd name="connsiteY5" fmla="*/ 0 h 1411813"/>
                <a:gd name="connsiteX0" fmla="*/ 1636803 w 1857312"/>
                <a:gd name="connsiteY0" fmla="*/ 0 h 1411813"/>
                <a:gd name="connsiteX1" fmla="*/ 0 w 1857312"/>
                <a:gd name="connsiteY1" fmla="*/ 26633 h 1411813"/>
                <a:gd name="connsiteX2" fmla="*/ 0 w 1857312"/>
                <a:gd name="connsiteY2" fmla="*/ 1411813 h 1411813"/>
                <a:gd name="connsiteX3" fmla="*/ 1632641 w 1857312"/>
                <a:gd name="connsiteY3" fmla="*/ 1411813 h 1411813"/>
                <a:gd name="connsiteX4" fmla="*/ 1850787 w 1857312"/>
                <a:gd name="connsiteY4" fmla="*/ 655660 h 1411813"/>
                <a:gd name="connsiteX5" fmla="*/ 1636803 w 1857312"/>
                <a:gd name="connsiteY5" fmla="*/ 0 h 1411813"/>
                <a:gd name="connsiteX0" fmla="*/ 1636803 w 1857312"/>
                <a:gd name="connsiteY0" fmla="*/ 0 h 1411813"/>
                <a:gd name="connsiteX1" fmla="*/ 0 w 1857312"/>
                <a:gd name="connsiteY1" fmla="*/ 26633 h 1411813"/>
                <a:gd name="connsiteX2" fmla="*/ 0 w 1857312"/>
                <a:gd name="connsiteY2" fmla="*/ 1411813 h 1411813"/>
                <a:gd name="connsiteX3" fmla="*/ 1632641 w 1857312"/>
                <a:gd name="connsiteY3" fmla="*/ 1411813 h 1411813"/>
                <a:gd name="connsiteX4" fmla="*/ 1850787 w 1857312"/>
                <a:gd name="connsiteY4" fmla="*/ 655660 h 1411813"/>
                <a:gd name="connsiteX5" fmla="*/ 1636803 w 1857312"/>
                <a:gd name="connsiteY5" fmla="*/ 0 h 1411813"/>
                <a:gd name="connsiteX0" fmla="*/ 1636803 w 1851869"/>
                <a:gd name="connsiteY0" fmla="*/ 0 h 1411813"/>
                <a:gd name="connsiteX1" fmla="*/ 0 w 1851869"/>
                <a:gd name="connsiteY1" fmla="*/ 26633 h 1411813"/>
                <a:gd name="connsiteX2" fmla="*/ 0 w 1851869"/>
                <a:gd name="connsiteY2" fmla="*/ 1411813 h 1411813"/>
                <a:gd name="connsiteX3" fmla="*/ 1632641 w 1851869"/>
                <a:gd name="connsiteY3" fmla="*/ 1411813 h 1411813"/>
                <a:gd name="connsiteX4" fmla="*/ 1850787 w 1851869"/>
                <a:gd name="connsiteY4" fmla="*/ 655660 h 1411813"/>
                <a:gd name="connsiteX5" fmla="*/ 1636803 w 1851869"/>
                <a:gd name="connsiteY5" fmla="*/ 0 h 1411813"/>
                <a:gd name="connsiteX0" fmla="*/ 1636803 w 1772302"/>
                <a:gd name="connsiteY0" fmla="*/ 0 h 1411813"/>
                <a:gd name="connsiteX1" fmla="*/ 0 w 1772302"/>
                <a:gd name="connsiteY1" fmla="*/ 26633 h 1411813"/>
                <a:gd name="connsiteX2" fmla="*/ 0 w 1772302"/>
                <a:gd name="connsiteY2" fmla="*/ 1411813 h 1411813"/>
                <a:gd name="connsiteX3" fmla="*/ 1632641 w 1772302"/>
                <a:gd name="connsiteY3" fmla="*/ 1411813 h 1411813"/>
                <a:gd name="connsiteX4" fmla="*/ 1744298 w 1772302"/>
                <a:gd name="connsiteY4" fmla="*/ 658396 h 1411813"/>
                <a:gd name="connsiteX5" fmla="*/ 1636803 w 1772302"/>
                <a:gd name="connsiteY5" fmla="*/ 0 h 1411813"/>
                <a:gd name="connsiteX0" fmla="*/ 1636803 w 1765985"/>
                <a:gd name="connsiteY0" fmla="*/ 0 h 1411813"/>
                <a:gd name="connsiteX1" fmla="*/ 0 w 1765985"/>
                <a:gd name="connsiteY1" fmla="*/ 26633 h 1411813"/>
                <a:gd name="connsiteX2" fmla="*/ 0 w 1765985"/>
                <a:gd name="connsiteY2" fmla="*/ 1411813 h 1411813"/>
                <a:gd name="connsiteX3" fmla="*/ 1632641 w 1765985"/>
                <a:gd name="connsiteY3" fmla="*/ 1411813 h 1411813"/>
                <a:gd name="connsiteX4" fmla="*/ 1744298 w 1765985"/>
                <a:gd name="connsiteY4" fmla="*/ 658396 h 1411813"/>
                <a:gd name="connsiteX5" fmla="*/ 1636803 w 1765985"/>
                <a:gd name="connsiteY5" fmla="*/ 0 h 1411813"/>
                <a:gd name="connsiteX0" fmla="*/ 1636803 w 1745055"/>
                <a:gd name="connsiteY0" fmla="*/ 0 h 1411813"/>
                <a:gd name="connsiteX1" fmla="*/ 0 w 1745055"/>
                <a:gd name="connsiteY1" fmla="*/ 26633 h 1411813"/>
                <a:gd name="connsiteX2" fmla="*/ 0 w 1745055"/>
                <a:gd name="connsiteY2" fmla="*/ 1411813 h 1411813"/>
                <a:gd name="connsiteX3" fmla="*/ 1632641 w 1745055"/>
                <a:gd name="connsiteY3" fmla="*/ 1411813 h 1411813"/>
                <a:gd name="connsiteX4" fmla="*/ 1744298 w 1745055"/>
                <a:gd name="connsiteY4" fmla="*/ 658396 h 1411813"/>
                <a:gd name="connsiteX5" fmla="*/ 1636803 w 1745055"/>
                <a:gd name="connsiteY5" fmla="*/ 0 h 1411813"/>
                <a:gd name="connsiteX0" fmla="*/ 1636803 w 1745055"/>
                <a:gd name="connsiteY0" fmla="*/ 0 h 1411813"/>
                <a:gd name="connsiteX1" fmla="*/ 0 w 1745055"/>
                <a:gd name="connsiteY1" fmla="*/ 26633 h 1411813"/>
                <a:gd name="connsiteX2" fmla="*/ 0 w 1745055"/>
                <a:gd name="connsiteY2" fmla="*/ 1411813 h 1411813"/>
                <a:gd name="connsiteX3" fmla="*/ 1632641 w 1745055"/>
                <a:gd name="connsiteY3" fmla="*/ 1411813 h 1411813"/>
                <a:gd name="connsiteX4" fmla="*/ 1744298 w 1745055"/>
                <a:gd name="connsiteY4" fmla="*/ 658396 h 1411813"/>
                <a:gd name="connsiteX5" fmla="*/ 1636803 w 1745055"/>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348"/>
                <a:gd name="connsiteY0" fmla="*/ 0 h 1411813"/>
                <a:gd name="connsiteX1" fmla="*/ 0 w 1744348"/>
                <a:gd name="connsiteY1" fmla="*/ 26633 h 1411813"/>
                <a:gd name="connsiteX2" fmla="*/ 0 w 1744348"/>
                <a:gd name="connsiteY2" fmla="*/ 1411813 h 1411813"/>
                <a:gd name="connsiteX3" fmla="*/ 1632641 w 1744348"/>
                <a:gd name="connsiteY3" fmla="*/ 1411813 h 1411813"/>
                <a:gd name="connsiteX4" fmla="*/ 1744298 w 1744348"/>
                <a:gd name="connsiteY4" fmla="*/ 658396 h 1411813"/>
                <a:gd name="connsiteX5" fmla="*/ 1636803 w 1744348"/>
                <a:gd name="connsiteY5" fmla="*/ 0 h 1411813"/>
                <a:gd name="connsiteX0" fmla="*/ 1636803 w 1750329"/>
                <a:gd name="connsiteY0" fmla="*/ 0 h 1411813"/>
                <a:gd name="connsiteX1" fmla="*/ 0 w 1750329"/>
                <a:gd name="connsiteY1" fmla="*/ 26633 h 1411813"/>
                <a:gd name="connsiteX2" fmla="*/ 0 w 1750329"/>
                <a:gd name="connsiteY2" fmla="*/ 1411813 h 1411813"/>
                <a:gd name="connsiteX3" fmla="*/ 1632641 w 1750329"/>
                <a:gd name="connsiteY3" fmla="*/ 1411813 h 1411813"/>
                <a:gd name="connsiteX4" fmla="*/ 1750298 w 1750329"/>
                <a:gd name="connsiteY4" fmla="*/ 661131 h 1411813"/>
                <a:gd name="connsiteX5" fmla="*/ 1636803 w 1750329"/>
                <a:gd name="connsiteY5" fmla="*/ 0 h 1411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0329" h="1411813">
                  <a:moveTo>
                    <a:pt x="1636803" y="0"/>
                  </a:moveTo>
                  <a:lnTo>
                    <a:pt x="0" y="26633"/>
                  </a:lnTo>
                  <a:lnTo>
                    <a:pt x="0" y="1411813"/>
                  </a:lnTo>
                  <a:lnTo>
                    <a:pt x="1632641" y="1411813"/>
                  </a:lnTo>
                  <a:cubicBezTo>
                    <a:pt x="1732361" y="1270024"/>
                    <a:pt x="1749523" y="772146"/>
                    <a:pt x="1750298" y="661131"/>
                  </a:cubicBezTo>
                  <a:cubicBezTo>
                    <a:pt x="1751073" y="550116"/>
                    <a:pt x="1738184" y="176612"/>
                    <a:pt x="1636803" y="0"/>
                  </a:cubicBezTo>
                  <a:close/>
                </a:path>
              </a:pathLst>
            </a:custGeom>
            <a:gradFill>
              <a:gsLst>
                <a:gs pos="50000">
                  <a:srgbClr val="7AC3E1"/>
                </a:gs>
                <a:gs pos="50000">
                  <a:srgbClr val="59B4D9"/>
                </a:gs>
              </a:gsLst>
              <a:lin ang="5400000" scaled="1"/>
            </a:gra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nvGrpSpPr>
            <p:cNvPr id="142" name="Group 141"/>
            <p:cNvGrpSpPr/>
            <p:nvPr/>
          </p:nvGrpSpPr>
          <p:grpSpPr>
            <a:xfrm>
              <a:off x="8270672" y="2767517"/>
              <a:ext cx="318885" cy="479652"/>
              <a:chOff x="7112065" y="1311128"/>
              <a:chExt cx="1047313" cy="1575323"/>
            </a:xfrm>
          </p:grpSpPr>
          <p:sp>
            <p:nvSpPr>
              <p:cNvPr id="179" name="Donut 20"/>
              <p:cNvSpPr/>
              <p:nvPr/>
            </p:nvSpPr>
            <p:spPr>
              <a:xfrm>
                <a:off x="7137042" y="1311128"/>
                <a:ext cx="1022336" cy="1575323"/>
              </a:xfrm>
              <a:custGeom>
                <a:avLst/>
                <a:gdLst>
                  <a:gd name="connsiteX0" fmla="*/ 0 w 564776"/>
                  <a:gd name="connsiteY0" fmla="*/ 773141 h 1546282"/>
                  <a:gd name="connsiteX1" fmla="*/ 282388 w 564776"/>
                  <a:gd name="connsiteY1" fmla="*/ 0 h 1546282"/>
                  <a:gd name="connsiteX2" fmla="*/ 564776 w 564776"/>
                  <a:gd name="connsiteY2" fmla="*/ 773141 h 1546282"/>
                  <a:gd name="connsiteX3" fmla="*/ 282388 w 564776"/>
                  <a:gd name="connsiteY3" fmla="*/ 1546282 h 1546282"/>
                  <a:gd name="connsiteX4" fmla="*/ 0 w 564776"/>
                  <a:gd name="connsiteY4" fmla="*/ 773141 h 1546282"/>
                  <a:gd name="connsiteX5" fmla="*/ 141194 w 564776"/>
                  <a:gd name="connsiteY5" fmla="*/ 773141 h 1546282"/>
                  <a:gd name="connsiteX6" fmla="*/ 282388 w 564776"/>
                  <a:gd name="connsiteY6" fmla="*/ 1405088 h 1546282"/>
                  <a:gd name="connsiteX7" fmla="*/ 423582 w 564776"/>
                  <a:gd name="connsiteY7" fmla="*/ 773141 h 1546282"/>
                  <a:gd name="connsiteX8" fmla="*/ 282388 w 564776"/>
                  <a:gd name="connsiteY8" fmla="*/ 141194 h 1546282"/>
                  <a:gd name="connsiteX9" fmla="*/ 141194 w 564776"/>
                  <a:gd name="connsiteY9" fmla="*/ 773141 h 1546282"/>
                  <a:gd name="connsiteX0" fmla="*/ 0 w 1021976"/>
                  <a:gd name="connsiteY0" fmla="*/ 773388 h 1546735"/>
                  <a:gd name="connsiteX1" fmla="*/ 282388 w 1021976"/>
                  <a:gd name="connsiteY1" fmla="*/ 247 h 1546735"/>
                  <a:gd name="connsiteX2" fmla="*/ 1021976 w 1021976"/>
                  <a:gd name="connsiteY2" fmla="*/ 713230 h 1546735"/>
                  <a:gd name="connsiteX3" fmla="*/ 282388 w 1021976"/>
                  <a:gd name="connsiteY3" fmla="*/ 1546529 h 1546735"/>
                  <a:gd name="connsiteX4" fmla="*/ 0 w 1021976"/>
                  <a:gd name="connsiteY4" fmla="*/ 773388 h 1546735"/>
                  <a:gd name="connsiteX5" fmla="*/ 141194 w 1021976"/>
                  <a:gd name="connsiteY5" fmla="*/ 773388 h 1546735"/>
                  <a:gd name="connsiteX6" fmla="*/ 282388 w 1021976"/>
                  <a:gd name="connsiteY6" fmla="*/ 1405335 h 1546735"/>
                  <a:gd name="connsiteX7" fmla="*/ 423582 w 1021976"/>
                  <a:gd name="connsiteY7" fmla="*/ 773388 h 1546735"/>
                  <a:gd name="connsiteX8" fmla="*/ 282388 w 1021976"/>
                  <a:gd name="connsiteY8" fmla="*/ 141441 h 1546735"/>
                  <a:gd name="connsiteX9" fmla="*/ 141194 w 1021976"/>
                  <a:gd name="connsiteY9" fmla="*/ 773388 h 1546735"/>
                  <a:gd name="connsiteX0" fmla="*/ 0 w 1030213"/>
                  <a:gd name="connsiteY0" fmla="*/ 812464 h 1585811"/>
                  <a:gd name="connsiteX1" fmla="*/ 282388 w 1030213"/>
                  <a:gd name="connsiteY1" fmla="*/ 39323 h 1585811"/>
                  <a:gd name="connsiteX2" fmla="*/ 655149 w 1030213"/>
                  <a:gd name="connsiteY2" fmla="*/ 179798 h 1585811"/>
                  <a:gd name="connsiteX3" fmla="*/ 1021976 w 1030213"/>
                  <a:gd name="connsiteY3" fmla="*/ 752306 h 1585811"/>
                  <a:gd name="connsiteX4" fmla="*/ 282388 w 1030213"/>
                  <a:gd name="connsiteY4" fmla="*/ 1585605 h 1585811"/>
                  <a:gd name="connsiteX5" fmla="*/ 0 w 1030213"/>
                  <a:gd name="connsiteY5" fmla="*/ 812464 h 1585811"/>
                  <a:gd name="connsiteX6" fmla="*/ 141194 w 1030213"/>
                  <a:gd name="connsiteY6" fmla="*/ 812464 h 1585811"/>
                  <a:gd name="connsiteX7" fmla="*/ 282388 w 1030213"/>
                  <a:gd name="connsiteY7" fmla="*/ 1444411 h 1585811"/>
                  <a:gd name="connsiteX8" fmla="*/ 423582 w 1030213"/>
                  <a:gd name="connsiteY8" fmla="*/ 812464 h 1585811"/>
                  <a:gd name="connsiteX9" fmla="*/ 282388 w 1030213"/>
                  <a:gd name="connsiteY9" fmla="*/ 180517 h 1585811"/>
                  <a:gd name="connsiteX10" fmla="*/ 141194 w 1030213"/>
                  <a:gd name="connsiteY10" fmla="*/ 812464 h 1585811"/>
                  <a:gd name="connsiteX0" fmla="*/ 0 w 1041870"/>
                  <a:gd name="connsiteY0" fmla="*/ 870483 h 1643830"/>
                  <a:gd name="connsiteX1" fmla="*/ 282388 w 1041870"/>
                  <a:gd name="connsiteY1" fmla="*/ 97342 h 1643830"/>
                  <a:gd name="connsiteX2" fmla="*/ 783485 w 1041870"/>
                  <a:gd name="connsiteY2" fmla="*/ 89427 h 1643830"/>
                  <a:gd name="connsiteX3" fmla="*/ 1021976 w 1041870"/>
                  <a:gd name="connsiteY3" fmla="*/ 810325 h 1643830"/>
                  <a:gd name="connsiteX4" fmla="*/ 282388 w 1041870"/>
                  <a:gd name="connsiteY4" fmla="*/ 1643624 h 1643830"/>
                  <a:gd name="connsiteX5" fmla="*/ 0 w 1041870"/>
                  <a:gd name="connsiteY5" fmla="*/ 870483 h 1643830"/>
                  <a:gd name="connsiteX6" fmla="*/ 141194 w 1041870"/>
                  <a:gd name="connsiteY6" fmla="*/ 870483 h 1643830"/>
                  <a:gd name="connsiteX7" fmla="*/ 282388 w 1041870"/>
                  <a:gd name="connsiteY7" fmla="*/ 1502430 h 1643830"/>
                  <a:gd name="connsiteX8" fmla="*/ 423582 w 1041870"/>
                  <a:gd name="connsiteY8" fmla="*/ 870483 h 1643830"/>
                  <a:gd name="connsiteX9" fmla="*/ 282388 w 1041870"/>
                  <a:gd name="connsiteY9" fmla="*/ 238536 h 1643830"/>
                  <a:gd name="connsiteX10" fmla="*/ 141194 w 1041870"/>
                  <a:gd name="connsiteY10" fmla="*/ 870483 h 1643830"/>
                  <a:gd name="connsiteX0" fmla="*/ 0 w 1024083"/>
                  <a:gd name="connsiteY0" fmla="*/ 870483 h 1658092"/>
                  <a:gd name="connsiteX1" fmla="*/ 282388 w 1024083"/>
                  <a:gd name="connsiteY1" fmla="*/ 97342 h 1658092"/>
                  <a:gd name="connsiteX2" fmla="*/ 783485 w 1024083"/>
                  <a:gd name="connsiteY2" fmla="*/ 89427 h 1658092"/>
                  <a:gd name="connsiteX3" fmla="*/ 1021976 w 1024083"/>
                  <a:gd name="connsiteY3" fmla="*/ 810325 h 1658092"/>
                  <a:gd name="connsiteX4" fmla="*/ 659158 w 1024083"/>
                  <a:gd name="connsiteY4" fmla="*/ 1332691 h 1658092"/>
                  <a:gd name="connsiteX5" fmla="*/ 282388 w 1024083"/>
                  <a:gd name="connsiteY5" fmla="*/ 1643624 h 1658092"/>
                  <a:gd name="connsiteX6" fmla="*/ 0 w 1024083"/>
                  <a:gd name="connsiteY6" fmla="*/ 870483 h 1658092"/>
                  <a:gd name="connsiteX7" fmla="*/ 141194 w 1024083"/>
                  <a:gd name="connsiteY7" fmla="*/ 870483 h 1658092"/>
                  <a:gd name="connsiteX8" fmla="*/ 282388 w 1024083"/>
                  <a:gd name="connsiteY8" fmla="*/ 1502430 h 1658092"/>
                  <a:gd name="connsiteX9" fmla="*/ 423582 w 1024083"/>
                  <a:gd name="connsiteY9" fmla="*/ 870483 h 1658092"/>
                  <a:gd name="connsiteX10" fmla="*/ 282388 w 1024083"/>
                  <a:gd name="connsiteY10" fmla="*/ 238536 h 1658092"/>
                  <a:gd name="connsiteX11" fmla="*/ 141194 w 1024083"/>
                  <a:gd name="connsiteY11" fmla="*/ 870483 h 1658092"/>
                  <a:gd name="connsiteX0" fmla="*/ 0 w 1059520"/>
                  <a:gd name="connsiteY0" fmla="*/ 870483 h 1709542"/>
                  <a:gd name="connsiteX1" fmla="*/ 282388 w 1059520"/>
                  <a:gd name="connsiteY1" fmla="*/ 97342 h 1709542"/>
                  <a:gd name="connsiteX2" fmla="*/ 783485 w 1059520"/>
                  <a:gd name="connsiteY2" fmla="*/ 89427 h 1709542"/>
                  <a:gd name="connsiteX3" fmla="*/ 1021976 w 1059520"/>
                  <a:gd name="connsiteY3" fmla="*/ 810325 h 1709542"/>
                  <a:gd name="connsiteX4" fmla="*/ 980000 w 1059520"/>
                  <a:gd name="connsiteY4" fmla="*/ 1573322 h 1709542"/>
                  <a:gd name="connsiteX5" fmla="*/ 282388 w 1059520"/>
                  <a:gd name="connsiteY5" fmla="*/ 1643624 h 1709542"/>
                  <a:gd name="connsiteX6" fmla="*/ 0 w 1059520"/>
                  <a:gd name="connsiteY6" fmla="*/ 870483 h 1709542"/>
                  <a:gd name="connsiteX7" fmla="*/ 141194 w 1059520"/>
                  <a:gd name="connsiteY7" fmla="*/ 870483 h 1709542"/>
                  <a:gd name="connsiteX8" fmla="*/ 282388 w 1059520"/>
                  <a:gd name="connsiteY8" fmla="*/ 1502430 h 1709542"/>
                  <a:gd name="connsiteX9" fmla="*/ 423582 w 1059520"/>
                  <a:gd name="connsiteY9" fmla="*/ 870483 h 1709542"/>
                  <a:gd name="connsiteX10" fmla="*/ 282388 w 1059520"/>
                  <a:gd name="connsiteY10" fmla="*/ 238536 h 1709542"/>
                  <a:gd name="connsiteX11" fmla="*/ 141194 w 1059520"/>
                  <a:gd name="connsiteY11" fmla="*/ 870483 h 1709542"/>
                  <a:gd name="connsiteX0" fmla="*/ 0 w 1032546"/>
                  <a:gd name="connsiteY0" fmla="*/ 870483 h 1709542"/>
                  <a:gd name="connsiteX1" fmla="*/ 282388 w 1032546"/>
                  <a:gd name="connsiteY1" fmla="*/ 97342 h 1709542"/>
                  <a:gd name="connsiteX2" fmla="*/ 783485 w 1032546"/>
                  <a:gd name="connsiteY2" fmla="*/ 89427 h 1709542"/>
                  <a:gd name="connsiteX3" fmla="*/ 1021976 w 1032546"/>
                  <a:gd name="connsiteY3" fmla="*/ 810325 h 1709542"/>
                  <a:gd name="connsiteX4" fmla="*/ 980000 w 1032546"/>
                  <a:gd name="connsiteY4" fmla="*/ 1573322 h 1709542"/>
                  <a:gd name="connsiteX5" fmla="*/ 282388 w 1032546"/>
                  <a:gd name="connsiteY5" fmla="*/ 1643624 h 1709542"/>
                  <a:gd name="connsiteX6" fmla="*/ 0 w 1032546"/>
                  <a:gd name="connsiteY6" fmla="*/ 870483 h 1709542"/>
                  <a:gd name="connsiteX7" fmla="*/ 141194 w 1032546"/>
                  <a:gd name="connsiteY7" fmla="*/ 870483 h 1709542"/>
                  <a:gd name="connsiteX8" fmla="*/ 282388 w 1032546"/>
                  <a:gd name="connsiteY8" fmla="*/ 1502430 h 1709542"/>
                  <a:gd name="connsiteX9" fmla="*/ 423582 w 1032546"/>
                  <a:gd name="connsiteY9" fmla="*/ 870483 h 1709542"/>
                  <a:gd name="connsiteX10" fmla="*/ 282388 w 1032546"/>
                  <a:gd name="connsiteY10" fmla="*/ 238536 h 1709542"/>
                  <a:gd name="connsiteX11" fmla="*/ 141194 w 1032546"/>
                  <a:gd name="connsiteY11" fmla="*/ 870483 h 1709542"/>
                  <a:gd name="connsiteX0" fmla="*/ 0 w 1022929"/>
                  <a:gd name="connsiteY0" fmla="*/ 870483 h 1687817"/>
                  <a:gd name="connsiteX1" fmla="*/ 282388 w 1022929"/>
                  <a:gd name="connsiteY1" fmla="*/ 97342 h 1687817"/>
                  <a:gd name="connsiteX2" fmla="*/ 783485 w 1022929"/>
                  <a:gd name="connsiteY2" fmla="*/ 89427 h 1687817"/>
                  <a:gd name="connsiteX3" fmla="*/ 1021976 w 1022929"/>
                  <a:gd name="connsiteY3" fmla="*/ 810325 h 1687817"/>
                  <a:gd name="connsiteX4" fmla="*/ 867705 w 1022929"/>
                  <a:gd name="connsiteY4" fmla="*/ 1509153 h 1687817"/>
                  <a:gd name="connsiteX5" fmla="*/ 282388 w 1022929"/>
                  <a:gd name="connsiteY5" fmla="*/ 1643624 h 1687817"/>
                  <a:gd name="connsiteX6" fmla="*/ 0 w 1022929"/>
                  <a:gd name="connsiteY6" fmla="*/ 870483 h 1687817"/>
                  <a:gd name="connsiteX7" fmla="*/ 141194 w 1022929"/>
                  <a:gd name="connsiteY7" fmla="*/ 870483 h 1687817"/>
                  <a:gd name="connsiteX8" fmla="*/ 282388 w 1022929"/>
                  <a:gd name="connsiteY8" fmla="*/ 1502430 h 1687817"/>
                  <a:gd name="connsiteX9" fmla="*/ 423582 w 1022929"/>
                  <a:gd name="connsiteY9" fmla="*/ 870483 h 1687817"/>
                  <a:gd name="connsiteX10" fmla="*/ 282388 w 1022929"/>
                  <a:gd name="connsiteY10" fmla="*/ 238536 h 1687817"/>
                  <a:gd name="connsiteX11" fmla="*/ 141194 w 1022929"/>
                  <a:gd name="connsiteY11" fmla="*/ 870483 h 1687817"/>
                  <a:gd name="connsiteX0" fmla="*/ 0 w 1025541"/>
                  <a:gd name="connsiteY0" fmla="*/ 870483 h 1694992"/>
                  <a:gd name="connsiteX1" fmla="*/ 282388 w 1025541"/>
                  <a:gd name="connsiteY1" fmla="*/ 97342 h 1694992"/>
                  <a:gd name="connsiteX2" fmla="*/ 783485 w 1025541"/>
                  <a:gd name="connsiteY2" fmla="*/ 89427 h 1694992"/>
                  <a:gd name="connsiteX3" fmla="*/ 1021976 w 1025541"/>
                  <a:gd name="connsiteY3" fmla="*/ 810325 h 1694992"/>
                  <a:gd name="connsiteX4" fmla="*/ 923853 w 1025541"/>
                  <a:gd name="connsiteY4" fmla="*/ 1533216 h 1694992"/>
                  <a:gd name="connsiteX5" fmla="*/ 282388 w 1025541"/>
                  <a:gd name="connsiteY5" fmla="*/ 1643624 h 1694992"/>
                  <a:gd name="connsiteX6" fmla="*/ 0 w 1025541"/>
                  <a:gd name="connsiteY6" fmla="*/ 870483 h 1694992"/>
                  <a:gd name="connsiteX7" fmla="*/ 141194 w 1025541"/>
                  <a:gd name="connsiteY7" fmla="*/ 870483 h 1694992"/>
                  <a:gd name="connsiteX8" fmla="*/ 282388 w 1025541"/>
                  <a:gd name="connsiteY8" fmla="*/ 1502430 h 1694992"/>
                  <a:gd name="connsiteX9" fmla="*/ 423582 w 1025541"/>
                  <a:gd name="connsiteY9" fmla="*/ 870483 h 1694992"/>
                  <a:gd name="connsiteX10" fmla="*/ 282388 w 1025541"/>
                  <a:gd name="connsiteY10" fmla="*/ 238536 h 1694992"/>
                  <a:gd name="connsiteX11" fmla="*/ 141194 w 1025541"/>
                  <a:gd name="connsiteY11" fmla="*/ 870483 h 1694992"/>
                  <a:gd name="connsiteX0" fmla="*/ 0 w 1024521"/>
                  <a:gd name="connsiteY0" fmla="*/ 870483 h 1691271"/>
                  <a:gd name="connsiteX1" fmla="*/ 282388 w 1024521"/>
                  <a:gd name="connsiteY1" fmla="*/ 97342 h 1691271"/>
                  <a:gd name="connsiteX2" fmla="*/ 783485 w 1024521"/>
                  <a:gd name="connsiteY2" fmla="*/ 89427 h 1691271"/>
                  <a:gd name="connsiteX3" fmla="*/ 1021976 w 1024521"/>
                  <a:gd name="connsiteY3" fmla="*/ 810325 h 1691271"/>
                  <a:gd name="connsiteX4" fmla="*/ 907811 w 1024521"/>
                  <a:gd name="connsiteY4" fmla="*/ 1521185 h 1691271"/>
                  <a:gd name="connsiteX5" fmla="*/ 282388 w 1024521"/>
                  <a:gd name="connsiteY5" fmla="*/ 1643624 h 1691271"/>
                  <a:gd name="connsiteX6" fmla="*/ 0 w 1024521"/>
                  <a:gd name="connsiteY6" fmla="*/ 870483 h 1691271"/>
                  <a:gd name="connsiteX7" fmla="*/ 141194 w 1024521"/>
                  <a:gd name="connsiteY7" fmla="*/ 870483 h 1691271"/>
                  <a:gd name="connsiteX8" fmla="*/ 282388 w 1024521"/>
                  <a:gd name="connsiteY8" fmla="*/ 1502430 h 1691271"/>
                  <a:gd name="connsiteX9" fmla="*/ 423582 w 1024521"/>
                  <a:gd name="connsiteY9" fmla="*/ 870483 h 1691271"/>
                  <a:gd name="connsiteX10" fmla="*/ 282388 w 1024521"/>
                  <a:gd name="connsiteY10" fmla="*/ 238536 h 1691271"/>
                  <a:gd name="connsiteX11" fmla="*/ 141194 w 1024521"/>
                  <a:gd name="connsiteY11" fmla="*/ 870483 h 1691271"/>
                  <a:gd name="connsiteX0" fmla="*/ 0 w 1026787"/>
                  <a:gd name="connsiteY0" fmla="*/ 870483 h 1691271"/>
                  <a:gd name="connsiteX1" fmla="*/ 282388 w 1026787"/>
                  <a:gd name="connsiteY1" fmla="*/ 97342 h 1691271"/>
                  <a:gd name="connsiteX2" fmla="*/ 783485 w 1026787"/>
                  <a:gd name="connsiteY2" fmla="*/ 89427 h 1691271"/>
                  <a:gd name="connsiteX3" fmla="*/ 1021976 w 1026787"/>
                  <a:gd name="connsiteY3" fmla="*/ 810325 h 1691271"/>
                  <a:gd name="connsiteX4" fmla="*/ 907811 w 1026787"/>
                  <a:gd name="connsiteY4" fmla="*/ 1521185 h 1691271"/>
                  <a:gd name="connsiteX5" fmla="*/ 282388 w 1026787"/>
                  <a:gd name="connsiteY5" fmla="*/ 1643624 h 1691271"/>
                  <a:gd name="connsiteX6" fmla="*/ 0 w 1026787"/>
                  <a:gd name="connsiteY6" fmla="*/ 870483 h 1691271"/>
                  <a:gd name="connsiteX7" fmla="*/ 141194 w 1026787"/>
                  <a:gd name="connsiteY7" fmla="*/ 870483 h 1691271"/>
                  <a:gd name="connsiteX8" fmla="*/ 282388 w 1026787"/>
                  <a:gd name="connsiteY8" fmla="*/ 1502430 h 1691271"/>
                  <a:gd name="connsiteX9" fmla="*/ 423582 w 1026787"/>
                  <a:gd name="connsiteY9" fmla="*/ 870483 h 1691271"/>
                  <a:gd name="connsiteX10" fmla="*/ 282388 w 1026787"/>
                  <a:gd name="connsiteY10" fmla="*/ 238536 h 1691271"/>
                  <a:gd name="connsiteX11" fmla="*/ 141194 w 1026787"/>
                  <a:gd name="connsiteY11" fmla="*/ 870483 h 1691271"/>
                  <a:gd name="connsiteX0" fmla="*/ 0 w 1024000"/>
                  <a:gd name="connsiteY0" fmla="*/ 870483 h 1706351"/>
                  <a:gd name="connsiteX1" fmla="*/ 282388 w 1024000"/>
                  <a:gd name="connsiteY1" fmla="*/ 97342 h 1706351"/>
                  <a:gd name="connsiteX2" fmla="*/ 783485 w 1024000"/>
                  <a:gd name="connsiteY2" fmla="*/ 89427 h 1706351"/>
                  <a:gd name="connsiteX3" fmla="*/ 1021976 w 1024000"/>
                  <a:gd name="connsiteY3" fmla="*/ 810325 h 1706351"/>
                  <a:gd name="connsiteX4" fmla="*/ 875727 w 1024000"/>
                  <a:gd name="connsiteY4" fmla="*/ 1565300 h 1706351"/>
                  <a:gd name="connsiteX5" fmla="*/ 282388 w 1024000"/>
                  <a:gd name="connsiteY5" fmla="*/ 1643624 h 1706351"/>
                  <a:gd name="connsiteX6" fmla="*/ 0 w 1024000"/>
                  <a:gd name="connsiteY6" fmla="*/ 870483 h 1706351"/>
                  <a:gd name="connsiteX7" fmla="*/ 141194 w 1024000"/>
                  <a:gd name="connsiteY7" fmla="*/ 870483 h 1706351"/>
                  <a:gd name="connsiteX8" fmla="*/ 282388 w 1024000"/>
                  <a:gd name="connsiteY8" fmla="*/ 1502430 h 1706351"/>
                  <a:gd name="connsiteX9" fmla="*/ 423582 w 1024000"/>
                  <a:gd name="connsiteY9" fmla="*/ 870483 h 1706351"/>
                  <a:gd name="connsiteX10" fmla="*/ 282388 w 1024000"/>
                  <a:gd name="connsiteY10" fmla="*/ 238536 h 1706351"/>
                  <a:gd name="connsiteX11" fmla="*/ 141194 w 1024000"/>
                  <a:gd name="connsiteY11" fmla="*/ 870483 h 1706351"/>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792183 h 1628051"/>
                  <a:gd name="connsiteX1" fmla="*/ 282388 w 1024000"/>
                  <a:gd name="connsiteY1" fmla="*/ 19042 h 1628051"/>
                  <a:gd name="connsiteX2" fmla="*/ 783485 w 1024000"/>
                  <a:gd name="connsiteY2" fmla="*/ 11127 h 1628051"/>
                  <a:gd name="connsiteX3" fmla="*/ 1021976 w 1024000"/>
                  <a:gd name="connsiteY3" fmla="*/ 732025 h 1628051"/>
                  <a:gd name="connsiteX4" fmla="*/ 875727 w 1024000"/>
                  <a:gd name="connsiteY4" fmla="*/ 1487000 h 1628051"/>
                  <a:gd name="connsiteX5" fmla="*/ 282388 w 1024000"/>
                  <a:gd name="connsiteY5" fmla="*/ 1565324 h 1628051"/>
                  <a:gd name="connsiteX6" fmla="*/ 0 w 1024000"/>
                  <a:gd name="connsiteY6" fmla="*/ 792183 h 1628051"/>
                  <a:gd name="connsiteX7" fmla="*/ 141194 w 1024000"/>
                  <a:gd name="connsiteY7" fmla="*/ 792183 h 1628051"/>
                  <a:gd name="connsiteX8" fmla="*/ 282388 w 1024000"/>
                  <a:gd name="connsiteY8" fmla="*/ 1424130 h 1628051"/>
                  <a:gd name="connsiteX9" fmla="*/ 423582 w 1024000"/>
                  <a:gd name="connsiteY9" fmla="*/ 792183 h 1628051"/>
                  <a:gd name="connsiteX10" fmla="*/ 282388 w 1024000"/>
                  <a:gd name="connsiteY10" fmla="*/ 160236 h 1628051"/>
                  <a:gd name="connsiteX11" fmla="*/ 141194 w 1024000"/>
                  <a:gd name="connsiteY11" fmla="*/ 792183 h 1628051"/>
                  <a:gd name="connsiteX0" fmla="*/ 0 w 1024000"/>
                  <a:gd name="connsiteY0" fmla="*/ 779274 h 1615142"/>
                  <a:gd name="connsiteX1" fmla="*/ 282388 w 1024000"/>
                  <a:gd name="connsiteY1" fmla="*/ 6133 h 1615142"/>
                  <a:gd name="connsiteX2" fmla="*/ 783485 w 1024000"/>
                  <a:gd name="connsiteY2" fmla="*/ 18271 h 1615142"/>
                  <a:gd name="connsiteX3" fmla="*/ 1021976 w 1024000"/>
                  <a:gd name="connsiteY3" fmla="*/ 719116 h 1615142"/>
                  <a:gd name="connsiteX4" fmla="*/ 875727 w 1024000"/>
                  <a:gd name="connsiteY4" fmla="*/ 1474091 h 1615142"/>
                  <a:gd name="connsiteX5" fmla="*/ 282388 w 1024000"/>
                  <a:gd name="connsiteY5" fmla="*/ 1552415 h 1615142"/>
                  <a:gd name="connsiteX6" fmla="*/ 0 w 1024000"/>
                  <a:gd name="connsiteY6" fmla="*/ 779274 h 1615142"/>
                  <a:gd name="connsiteX7" fmla="*/ 141194 w 1024000"/>
                  <a:gd name="connsiteY7" fmla="*/ 779274 h 1615142"/>
                  <a:gd name="connsiteX8" fmla="*/ 282388 w 1024000"/>
                  <a:gd name="connsiteY8" fmla="*/ 1411221 h 1615142"/>
                  <a:gd name="connsiteX9" fmla="*/ 423582 w 1024000"/>
                  <a:gd name="connsiteY9" fmla="*/ 779274 h 1615142"/>
                  <a:gd name="connsiteX10" fmla="*/ 282388 w 1024000"/>
                  <a:gd name="connsiteY10" fmla="*/ 147327 h 1615142"/>
                  <a:gd name="connsiteX11" fmla="*/ 141194 w 1024000"/>
                  <a:gd name="connsiteY11" fmla="*/ 779274 h 1615142"/>
                  <a:gd name="connsiteX0" fmla="*/ 0 w 1024000"/>
                  <a:gd name="connsiteY0" fmla="*/ 792182 h 1628050"/>
                  <a:gd name="connsiteX1" fmla="*/ 282388 w 1024000"/>
                  <a:gd name="connsiteY1" fmla="*/ 19041 h 1628050"/>
                  <a:gd name="connsiteX2" fmla="*/ 783485 w 1024000"/>
                  <a:gd name="connsiteY2" fmla="*/ 11126 h 1628050"/>
                  <a:gd name="connsiteX3" fmla="*/ 1021976 w 1024000"/>
                  <a:gd name="connsiteY3" fmla="*/ 732024 h 1628050"/>
                  <a:gd name="connsiteX4" fmla="*/ 875727 w 1024000"/>
                  <a:gd name="connsiteY4" fmla="*/ 1486999 h 1628050"/>
                  <a:gd name="connsiteX5" fmla="*/ 282388 w 1024000"/>
                  <a:gd name="connsiteY5" fmla="*/ 1565323 h 1628050"/>
                  <a:gd name="connsiteX6" fmla="*/ 0 w 1024000"/>
                  <a:gd name="connsiteY6" fmla="*/ 792182 h 1628050"/>
                  <a:gd name="connsiteX7" fmla="*/ 141194 w 1024000"/>
                  <a:gd name="connsiteY7" fmla="*/ 792182 h 1628050"/>
                  <a:gd name="connsiteX8" fmla="*/ 282388 w 1024000"/>
                  <a:gd name="connsiteY8" fmla="*/ 1424129 h 1628050"/>
                  <a:gd name="connsiteX9" fmla="*/ 423582 w 1024000"/>
                  <a:gd name="connsiteY9" fmla="*/ 792182 h 1628050"/>
                  <a:gd name="connsiteX10" fmla="*/ 282388 w 1024000"/>
                  <a:gd name="connsiteY10" fmla="*/ 160235 h 1628050"/>
                  <a:gd name="connsiteX11" fmla="*/ 141194 w 1024000"/>
                  <a:gd name="connsiteY11" fmla="*/ 792182 h 1628050"/>
                  <a:gd name="connsiteX0" fmla="*/ 334 w 1024334"/>
                  <a:gd name="connsiteY0" fmla="*/ 801704 h 1637572"/>
                  <a:gd name="connsiteX1" fmla="*/ 238606 w 1024334"/>
                  <a:gd name="connsiteY1" fmla="*/ 4500 h 1637572"/>
                  <a:gd name="connsiteX2" fmla="*/ 783819 w 1024334"/>
                  <a:gd name="connsiteY2" fmla="*/ 20648 h 1637572"/>
                  <a:gd name="connsiteX3" fmla="*/ 1022310 w 1024334"/>
                  <a:gd name="connsiteY3" fmla="*/ 741546 h 1637572"/>
                  <a:gd name="connsiteX4" fmla="*/ 876061 w 1024334"/>
                  <a:gd name="connsiteY4" fmla="*/ 1496521 h 1637572"/>
                  <a:gd name="connsiteX5" fmla="*/ 282722 w 1024334"/>
                  <a:gd name="connsiteY5" fmla="*/ 1574845 h 1637572"/>
                  <a:gd name="connsiteX6" fmla="*/ 334 w 1024334"/>
                  <a:gd name="connsiteY6" fmla="*/ 801704 h 1637572"/>
                  <a:gd name="connsiteX7" fmla="*/ 141528 w 1024334"/>
                  <a:gd name="connsiteY7" fmla="*/ 801704 h 1637572"/>
                  <a:gd name="connsiteX8" fmla="*/ 282722 w 1024334"/>
                  <a:gd name="connsiteY8" fmla="*/ 1433651 h 1637572"/>
                  <a:gd name="connsiteX9" fmla="*/ 423916 w 1024334"/>
                  <a:gd name="connsiteY9" fmla="*/ 801704 h 1637572"/>
                  <a:gd name="connsiteX10" fmla="*/ 282722 w 1024334"/>
                  <a:gd name="connsiteY10" fmla="*/ 169757 h 1637572"/>
                  <a:gd name="connsiteX11" fmla="*/ 141528 w 1024334"/>
                  <a:gd name="connsiteY11" fmla="*/ 801704 h 1637572"/>
                  <a:gd name="connsiteX0" fmla="*/ 334 w 1024561"/>
                  <a:gd name="connsiteY0" fmla="*/ 816307 h 1652175"/>
                  <a:gd name="connsiteX1" fmla="*/ 238606 w 1024561"/>
                  <a:gd name="connsiteY1" fmla="*/ 19103 h 1652175"/>
                  <a:gd name="connsiteX2" fmla="*/ 777783 w 1024561"/>
                  <a:gd name="connsiteY2" fmla="*/ 11108 h 1652175"/>
                  <a:gd name="connsiteX3" fmla="*/ 1022310 w 1024561"/>
                  <a:gd name="connsiteY3" fmla="*/ 756149 h 1652175"/>
                  <a:gd name="connsiteX4" fmla="*/ 876061 w 1024561"/>
                  <a:gd name="connsiteY4" fmla="*/ 1511124 h 1652175"/>
                  <a:gd name="connsiteX5" fmla="*/ 282722 w 1024561"/>
                  <a:gd name="connsiteY5" fmla="*/ 1589448 h 1652175"/>
                  <a:gd name="connsiteX6" fmla="*/ 334 w 1024561"/>
                  <a:gd name="connsiteY6" fmla="*/ 816307 h 1652175"/>
                  <a:gd name="connsiteX7" fmla="*/ 141528 w 1024561"/>
                  <a:gd name="connsiteY7" fmla="*/ 816307 h 1652175"/>
                  <a:gd name="connsiteX8" fmla="*/ 282722 w 1024561"/>
                  <a:gd name="connsiteY8" fmla="*/ 1448254 h 1652175"/>
                  <a:gd name="connsiteX9" fmla="*/ 423916 w 1024561"/>
                  <a:gd name="connsiteY9" fmla="*/ 816307 h 1652175"/>
                  <a:gd name="connsiteX10" fmla="*/ 282722 w 1024561"/>
                  <a:gd name="connsiteY10" fmla="*/ 184360 h 1652175"/>
                  <a:gd name="connsiteX11" fmla="*/ 141528 w 1024561"/>
                  <a:gd name="connsiteY11" fmla="*/ 816307 h 1652175"/>
                  <a:gd name="connsiteX0" fmla="*/ 334 w 1024224"/>
                  <a:gd name="connsiteY0" fmla="*/ 809712 h 1645580"/>
                  <a:gd name="connsiteX1" fmla="*/ 238606 w 1024224"/>
                  <a:gd name="connsiteY1" fmla="*/ 12508 h 1645580"/>
                  <a:gd name="connsiteX2" fmla="*/ 786837 w 1024224"/>
                  <a:gd name="connsiteY2" fmla="*/ 13566 h 1645580"/>
                  <a:gd name="connsiteX3" fmla="*/ 1022310 w 1024224"/>
                  <a:gd name="connsiteY3" fmla="*/ 749554 h 1645580"/>
                  <a:gd name="connsiteX4" fmla="*/ 876061 w 1024224"/>
                  <a:gd name="connsiteY4" fmla="*/ 1504529 h 1645580"/>
                  <a:gd name="connsiteX5" fmla="*/ 282722 w 1024224"/>
                  <a:gd name="connsiteY5" fmla="*/ 1582853 h 1645580"/>
                  <a:gd name="connsiteX6" fmla="*/ 334 w 1024224"/>
                  <a:gd name="connsiteY6" fmla="*/ 809712 h 1645580"/>
                  <a:gd name="connsiteX7" fmla="*/ 141528 w 1024224"/>
                  <a:gd name="connsiteY7" fmla="*/ 809712 h 1645580"/>
                  <a:gd name="connsiteX8" fmla="*/ 282722 w 1024224"/>
                  <a:gd name="connsiteY8" fmla="*/ 1441659 h 1645580"/>
                  <a:gd name="connsiteX9" fmla="*/ 423916 w 1024224"/>
                  <a:gd name="connsiteY9" fmla="*/ 809712 h 1645580"/>
                  <a:gd name="connsiteX10" fmla="*/ 282722 w 1024224"/>
                  <a:gd name="connsiteY10" fmla="*/ 177765 h 1645580"/>
                  <a:gd name="connsiteX11" fmla="*/ 141528 w 1024224"/>
                  <a:gd name="connsiteY11" fmla="*/ 809712 h 1645580"/>
                  <a:gd name="connsiteX0" fmla="*/ 334 w 1024224"/>
                  <a:gd name="connsiteY0" fmla="*/ 800969 h 1636837"/>
                  <a:gd name="connsiteX1" fmla="*/ 238606 w 1024224"/>
                  <a:gd name="connsiteY1" fmla="*/ 3765 h 1636837"/>
                  <a:gd name="connsiteX2" fmla="*/ 786837 w 1024224"/>
                  <a:gd name="connsiteY2" fmla="*/ 4823 h 1636837"/>
                  <a:gd name="connsiteX3" fmla="*/ 1022310 w 1024224"/>
                  <a:gd name="connsiteY3" fmla="*/ 740811 h 1636837"/>
                  <a:gd name="connsiteX4" fmla="*/ 876061 w 1024224"/>
                  <a:gd name="connsiteY4" fmla="*/ 1495786 h 1636837"/>
                  <a:gd name="connsiteX5" fmla="*/ 282722 w 1024224"/>
                  <a:gd name="connsiteY5" fmla="*/ 1574110 h 1636837"/>
                  <a:gd name="connsiteX6" fmla="*/ 334 w 1024224"/>
                  <a:gd name="connsiteY6" fmla="*/ 800969 h 1636837"/>
                  <a:gd name="connsiteX7" fmla="*/ 141528 w 1024224"/>
                  <a:gd name="connsiteY7" fmla="*/ 800969 h 1636837"/>
                  <a:gd name="connsiteX8" fmla="*/ 282722 w 1024224"/>
                  <a:gd name="connsiteY8" fmla="*/ 1432916 h 1636837"/>
                  <a:gd name="connsiteX9" fmla="*/ 423916 w 1024224"/>
                  <a:gd name="connsiteY9" fmla="*/ 800969 h 1636837"/>
                  <a:gd name="connsiteX10" fmla="*/ 282722 w 1024224"/>
                  <a:gd name="connsiteY10" fmla="*/ 169022 h 1636837"/>
                  <a:gd name="connsiteX11" fmla="*/ 141528 w 1024224"/>
                  <a:gd name="connsiteY11" fmla="*/ 800969 h 1636837"/>
                  <a:gd name="connsiteX0" fmla="*/ 334 w 1024224"/>
                  <a:gd name="connsiteY0" fmla="*/ 804626 h 1640494"/>
                  <a:gd name="connsiteX1" fmla="*/ 238606 w 1024224"/>
                  <a:gd name="connsiteY1" fmla="*/ 7422 h 1640494"/>
                  <a:gd name="connsiteX2" fmla="*/ 786837 w 1024224"/>
                  <a:gd name="connsiteY2" fmla="*/ 2444 h 1640494"/>
                  <a:gd name="connsiteX3" fmla="*/ 1022310 w 1024224"/>
                  <a:gd name="connsiteY3" fmla="*/ 744468 h 1640494"/>
                  <a:gd name="connsiteX4" fmla="*/ 876061 w 1024224"/>
                  <a:gd name="connsiteY4" fmla="*/ 1499443 h 1640494"/>
                  <a:gd name="connsiteX5" fmla="*/ 282722 w 1024224"/>
                  <a:gd name="connsiteY5" fmla="*/ 1577767 h 1640494"/>
                  <a:gd name="connsiteX6" fmla="*/ 334 w 1024224"/>
                  <a:gd name="connsiteY6" fmla="*/ 804626 h 1640494"/>
                  <a:gd name="connsiteX7" fmla="*/ 141528 w 1024224"/>
                  <a:gd name="connsiteY7" fmla="*/ 804626 h 1640494"/>
                  <a:gd name="connsiteX8" fmla="*/ 282722 w 1024224"/>
                  <a:gd name="connsiteY8" fmla="*/ 1436573 h 1640494"/>
                  <a:gd name="connsiteX9" fmla="*/ 423916 w 1024224"/>
                  <a:gd name="connsiteY9" fmla="*/ 804626 h 1640494"/>
                  <a:gd name="connsiteX10" fmla="*/ 282722 w 1024224"/>
                  <a:gd name="connsiteY10" fmla="*/ 172679 h 1640494"/>
                  <a:gd name="connsiteX11" fmla="*/ 141528 w 1024224"/>
                  <a:gd name="connsiteY11" fmla="*/ 804626 h 1640494"/>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75323"/>
                  <a:gd name="connsiteX1" fmla="*/ 238606 w 1024224"/>
                  <a:gd name="connsiteY1" fmla="*/ 4978 h 1575323"/>
                  <a:gd name="connsiteX2" fmla="*/ 786837 w 1024224"/>
                  <a:gd name="connsiteY2" fmla="*/ 0 h 1575323"/>
                  <a:gd name="connsiteX3" fmla="*/ 1022310 w 1024224"/>
                  <a:gd name="connsiteY3" fmla="*/ 742024 h 1575323"/>
                  <a:gd name="connsiteX4" fmla="*/ 876061 w 1024224"/>
                  <a:gd name="connsiteY4" fmla="*/ 1496999 h 1575323"/>
                  <a:gd name="connsiteX5" fmla="*/ 282722 w 1024224"/>
                  <a:gd name="connsiteY5" fmla="*/ 1575323 h 1575323"/>
                  <a:gd name="connsiteX6" fmla="*/ 334 w 1024224"/>
                  <a:gd name="connsiteY6" fmla="*/ 802182 h 1575323"/>
                  <a:gd name="connsiteX7" fmla="*/ 141528 w 1024224"/>
                  <a:gd name="connsiteY7" fmla="*/ 802182 h 1575323"/>
                  <a:gd name="connsiteX8" fmla="*/ 282722 w 1024224"/>
                  <a:gd name="connsiteY8" fmla="*/ 1434129 h 1575323"/>
                  <a:gd name="connsiteX9" fmla="*/ 423916 w 1024224"/>
                  <a:gd name="connsiteY9" fmla="*/ 802182 h 1575323"/>
                  <a:gd name="connsiteX10" fmla="*/ 282722 w 1024224"/>
                  <a:gd name="connsiteY10" fmla="*/ 170235 h 1575323"/>
                  <a:gd name="connsiteX11" fmla="*/ 141528 w 1024224"/>
                  <a:gd name="connsiteY11" fmla="*/ 802182 h 1575323"/>
                  <a:gd name="connsiteX0" fmla="*/ 334 w 1022370"/>
                  <a:gd name="connsiteY0" fmla="*/ 802182 h 1591544"/>
                  <a:gd name="connsiteX1" fmla="*/ 238606 w 1022370"/>
                  <a:gd name="connsiteY1" fmla="*/ 4978 h 1591544"/>
                  <a:gd name="connsiteX2" fmla="*/ 786837 w 1022370"/>
                  <a:gd name="connsiteY2" fmla="*/ 0 h 1591544"/>
                  <a:gd name="connsiteX3" fmla="*/ 1022310 w 1022370"/>
                  <a:gd name="connsiteY3" fmla="*/ 742024 h 1591544"/>
                  <a:gd name="connsiteX4" fmla="*/ 806651 w 1022370"/>
                  <a:gd name="connsiteY4" fmla="*/ 1578480 h 1591544"/>
                  <a:gd name="connsiteX5" fmla="*/ 282722 w 1022370"/>
                  <a:gd name="connsiteY5" fmla="*/ 1575323 h 1591544"/>
                  <a:gd name="connsiteX6" fmla="*/ 334 w 1022370"/>
                  <a:gd name="connsiteY6" fmla="*/ 802182 h 1591544"/>
                  <a:gd name="connsiteX7" fmla="*/ 141528 w 1022370"/>
                  <a:gd name="connsiteY7" fmla="*/ 802182 h 1591544"/>
                  <a:gd name="connsiteX8" fmla="*/ 282722 w 1022370"/>
                  <a:gd name="connsiteY8" fmla="*/ 1434129 h 1591544"/>
                  <a:gd name="connsiteX9" fmla="*/ 423916 w 1022370"/>
                  <a:gd name="connsiteY9" fmla="*/ 802182 h 1591544"/>
                  <a:gd name="connsiteX10" fmla="*/ 282722 w 1022370"/>
                  <a:gd name="connsiteY10" fmla="*/ 170235 h 1591544"/>
                  <a:gd name="connsiteX11" fmla="*/ 141528 w 1022370"/>
                  <a:gd name="connsiteY11" fmla="*/ 802182 h 1591544"/>
                  <a:gd name="connsiteX0" fmla="*/ 334 w 1022310"/>
                  <a:gd name="connsiteY0" fmla="*/ 802182 h 1576985"/>
                  <a:gd name="connsiteX1" fmla="*/ 238606 w 1022310"/>
                  <a:gd name="connsiteY1" fmla="*/ 4978 h 1576985"/>
                  <a:gd name="connsiteX2" fmla="*/ 786837 w 1022310"/>
                  <a:gd name="connsiteY2" fmla="*/ 0 h 1576985"/>
                  <a:gd name="connsiteX3" fmla="*/ 1022310 w 1022310"/>
                  <a:gd name="connsiteY3" fmla="*/ 742024 h 1576985"/>
                  <a:gd name="connsiteX4" fmla="*/ 788544 w 1022310"/>
                  <a:gd name="connsiteY4" fmla="*/ 1557355 h 1576985"/>
                  <a:gd name="connsiteX5" fmla="*/ 282722 w 1022310"/>
                  <a:gd name="connsiteY5" fmla="*/ 1575323 h 1576985"/>
                  <a:gd name="connsiteX6" fmla="*/ 334 w 1022310"/>
                  <a:gd name="connsiteY6" fmla="*/ 802182 h 1576985"/>
                  <a:gd name="connsiteX7" fmla="*/ 141528 w 1022310"/>
                  <a:gd name="connsiteY7" fmla="*/ 802182 h 1576985"/>
                  <a:gd name="connsiteX8" fmla="*/ 282722 w 1022310"/>
                  <a:gd name="connsiteY8" fmla="*/ 1434129 h 1576985"/>
                  <a:gd name="connsiteX9" fmla="*/ 423916 w 1022310"/>
                  <a:gd name="connsiteY9" fmla="*/ 802182 h 1576985"/>
                  <a:gd name="connsiteX10" fmla="*/ 282722 w 1022310"/>
                  <a:gd name="connsiteY10" fmla="*/ 170235 h 1576985"/>
                  <a:gd name="connsiteX11" fmla="*/ 141528 w 1022310"/>
                  <a:gd name="connsiteY11" fmla="*/ 802182 h 1576985"/>
                  <a:gd name="connsiteX0" fmla="*/ 334 w 1022310"/>
                  <a:gd name="connsiteY0" fmla="*/ 802182 h 1575323"/>
                  <a:gd name="connsiteX1" fmla="*/ 238606 w 1022310"/>
                  <a:gd name="connsiteY1" fmla="*/ 4978 h 1575323"/>
                  <a:gd name="connsiteX2" fmla="*/ 786837 w 1022310"/>
                  <a:gd name="connsiteY2" fmla="*/ 0 h 1575323"/>
                  <a:gd name="connsiteX3" fmla="*/ 1022310 w 1022310"/>
                  <a:gd name="connsiteY3" fmla="*/ 742024 h 1575323"/>
                  <a:gd name="connsiteX4" fmla="*/ 788544 w 1022310"/>
                  <a:gd name="connsiteY4" fmla="*/ 1557355 h 1575323"/>
                  <a:gd name="connsiteX5" fmla="*/ 282722 w 1022310"/>
                  <a:gd name="connsiteY5" fmla="*/ 1575323 h 1575323"/>
                  <a:gd name="connsiteX6" fmla="*/ 334 w 1022310"/>
                  <a:gd name="connsiteY6" fmla="*/ 802182 h 1575323"/>
                  <a:gd name="connsiteX7" fmla="*/ 141528 w 1022310"/>
                  <a:gd name="connsiteY7" fmla="*/ 802182 h 1575323"/>
                  <a:gd name="connsiteX8" fmla="*/ 282722 w 1022310"/>
                  <a:gd name="connsiteY8" fmla="*/ 1434129 h 1575323"/>
                  <a:gd name="connsiteX9" fmla="*/ 423916 w 1022310"/>
                  <a:gd name="connsiteY9" fmla="*/ 802182 h 1575323"/>
                  <a:gd name="connsiteX10" fmla="*/ 282722 w 1022310"/>
                  <a:gd name="connsiteY10" fmla="*/ 170235 h 1575323"/>
                  <a:gd name="connsiteX11" fmla="*/ 141528 w 1022310"/>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538594 w 1022336"/>
                  <a:gd name="connsiteY9" fmla="*/ 77502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51077 w 1022336"/>
                  <a:gd name="connsiteY9" fmla="*/ 765968 h 1575323"/>
                  <a:gd name="connsiteX10" fmla="*/ 258579 w 1022336"/>
                  <a:gd name="connsiteY10" fmla="*/ 227573 h 1575323"/>
                  <a:gd name="connsiteX11" fmla="*/ 141528 w 1022336"/>
                  <a:gd name="connsiteY11" fmla="*/ 802182 h 15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36" h="1575323">
                    <a:moveTo>
                      <a:pt x="334" y="802182"/>
                    </a:moveTo>
                    <a:cubicBezTo>
                      <a:pt x="-7019" y="540458"/>
                      <a:pt x="108025" y="135154"/>
                      <a:pt x="238606" y="4978"/>
                    </a:cubicBezTo>
                    <a:cubicBezTo>
                      <a:pt x="369187" y="-872"/>
                      <a:pt x="618463" y="6608"/>
                      <a:pt x="786837" y="0"/>
                    </a:cubicBezTo>
                    <a:cubicBezTo>
                      <a:pt x="940280" y="112795"/>
                      <a:pt x="1024037" y="479950"/>
                      <a:pt x="1022310" y="742024"/>
                    </a:cubicBezTo>
                    <a:cubicBezTo>
                      <a:pt x="1020583" y="1004098"/>
                      <a:pt x="927017" y="1342352"/>
                      <a:pt x="776473" y="1572444"/>
                    </a:cubicBezTo>
                    <a:cubicBezTo>
                      <a:pt x="610959" y="1575525"/>
                      <a:pt x="470925" y="1570413"/>
                      <a:pt x="282722" y="1575323"/>
                    </a:cubicBezTo>
                    <a:cubicBezTo>
                      <a:pt x="136768" y="1459520"/>
                      <a:pt x="7687" y="1063906"/>
                      <a:pt x="334" y="802182"/>
                    </a:cubicBezTo>
                    <a:close/>
                    <a:moveTo>
                      <a:pt x="141528" y="802182"/>
                    </a:moveTo>
                    <a:cubicBezTo>
                      <a:pt x="142534" y="990700"/>
                      <a:pt x="213024" y="1364719"/>
                      <a:pt x="264615" y="1358683"/>
                    </a:cubicBezTo>
                    <a:cubicBezTo>
                      <a:pt x="316207" y="1352647"/>
                      <a:pt x="451077" y="1114983"/>
                      <a:pt x="451077" y="765968"/>
                    </a:cubicBezTo>
                    <a:cubicBezTo>
                      <a:pt x="451077" y="416953"/>
                      <a:pt x="310171" y="221537"/>
                      <a:pt x="258579" y="227573"/>
                    </a:cubicBezTo>
                    <a:cubicBezTo>
                      <a:pt x="206988" y="233609"/>
                      <a:pt x="140522" y="613664"/>
                      <a:pt x="141528" y="802182"/>
                    </a:cubicBezTo>
                    <a:close/>
                  </a:path>
                </a:pathLst>
              </a:custGeom>
              <a:gradFill>
                <a:gsLst>
                  <a:gs pos="50000">
                    <a:srgbClr val="61ADD1"/>
                  </a:gs>
                  <a:gs pos="50000">
                    <a:srgbClr val="3999C6"/>
                  </a:gs>
                </a:gsLst>
                <a:lin ang="5400000" scaled="1"/>
              </a:gra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nvGrpSpPr>
              <p:cNvPr id="180" name="Group 179"/>
              <p:cNvGrpSpPr/>
              <p:nvPr/>
            </p:nvGrpSpPr>
            <p:grpSpPr>
              <a:xfrm>
                <a:off x="7112065" y="1318671"/>
                <a:ext cx="564776" cy="1567780"/>
                <a:chOff x="7237831" y="1331389"/>
                <a:chExt cx="564776" cy="1567780"/>
              </a:xfrm>
            </p:grpSpPr>
            <p:sp>
              <p:nvSpPr>
                <p:cNvPr id="181" name="Donut 18"/>
                <p:cNvSpPr/>
                <p:nvPr/>
              </p:nvSpPr>
              <p:spPr>
                <a:xfrm>
                  <a:off x="7318503" y="1358784"/>
                  <a:ext cx="461176" cy="1456148"/>
                </a:xfrm>
                <a:custGeom>
                  <a:avLst/>
                  <a:gdLst>
                    <a:gd name="connsiteX0" fmla="*/ 0 w 774919"/>
                    <a:gd name="connsiteY0" fmla="*/ 763919 h 1527838"/>
                    <a:gd name="connsiteX1" fmla="*/ 387460 w 774919"/>
                    <a:gd name="connsiteY1" fmla="*/ 0 h 1527838"/>
                    <a:gd name="connsiteX2" fmla="*/ 774920 w 774919"/>
                    <a:gd name="connsiteY2" fmla="*/ 763919 h 1527838"/>
                    <a:gd name="connsiteX3" fmla="*/ 387460 w 774919"/>
                    <a:gd name="connsiteY3" fmla="*/ 1527838 h 1527838"/>
                    <a:gd name="connsiteX4" fmla="*/ 0 w 774919"/>
                    <a:gd name="connsiteY4" fmla="*/ 763919 h 1527838"/>
                    <a:gd name="connsiteX5" fmla="*/ 347326 w 774919"/>
                    <a:gd name="connsiteY5" fmla="*/ 763919 h 1527838"/>
                    <a:gd name="connsiteX6" fmla="*/ 387459 w 774919"/>
                    <a:gd name="connsiteY6" fmla="*/ 1180512 h 1527838"/>
                    <a:gd name="connsiteX7" fmla="*/ 427592 w 774919"/>
                    <a:gd name="connsiteY7" fmla="*/ 763919 h 1527838"/>
                    <a:gd name="connsiteX8" fmla="*/ 387459 w 774919"/>
                    <a:gd name="connsiteY8" fmla="*/ 347326 h 1527838"/>
                    <a:gd name="connsiteX9" fmla="*/ 347326 w 774919"/>
                    <a:gd name="connsiteY9" fmla="*/ 763919 h 1527838"/>
                    <a:gd name="connsiteX0" fmla="*/ 0 w 541837"/>
                    <a:gd name="connsiteY0" fmla="*/ 763939 h 1527877"/>
                    <a:gd name="connsiteX1" fmla="*/ 387460 w 541837"/>
                    <a:gd name="connsiteY1" fmla="*/ 20 h 1527877"/>
                    <a:gd name="connsiteX2" fmla="*/ 541837 w 541837"/>
                    <a:gd name="connsiteY2" fmla="*/ 746010 h 1527877"/>
                    <a:gd name="connsiteX3" fmla="*/ 387460 w 541837"/>
                    <a:gd name="connsiteY3" fmla="*/ 1527858 h 1527877"/>
                    <a:gd name="connsiteX4" fmla="*/ 0 w 541837"/>
                    <a:gd name="connsiteY4" fmla="*/ 763939 h 1527877"/>
                    <a:gd name="connsiteX5" fmla="*/ 347326 w 541837"/>
                    <a:gd name="connsiteY5" fmla="*/ 763939 h 1527877"/>
                    <a:gd name="connsiteX6" fmla="*/ 387459 w 541837"/>
                    <a:gd name="connsiteY6" fmla="*/ 1180532 h 1527877"/>
                    <a:gd name="connsiteX7" fmla="*/ 427592 w 541837"/>
                    <a:gd name="connsiteY7" fmla="*/ 763939 h 1527877"/>
                    <a:gd name="connsiteX8" fmla="*/ 387459 w 541837"/>
                    <a:gd name="connsiteY8" fmla="*/ 347346 h 1527877"/>
                    <a:gd name="connsiteX9" fmla="*/ 347326 w 541837"/>
                    <a:gd name="connsiteY9" fmla="*/ 763939 h 1527877"/>
                    <a:gd name="connsiteX0" fmla="*/ 324 w 543143"/>
                    <a:gd name="connsiteY0" fmla="*/ 754968 h 1518899"/>
                    <a:gd name="connsiteX1" fmla="*/ 325031 w 543143"/>
                    <a:gd name="connsiteY1" fmla="*/ 14 h 1518899"/>
                    <a:gd name="connsiteX2" fmla="*/ 542161 w 543143"/>
                    <a:gd name="connsiteY2" fmla="*/ 737039 h 1518899"/>
                    <a:gd name="connsiteX3" fmla="*/ 387784 w 543143"/>
                    <a:gd name="connsiteY3" fmla="*/ 1518887 h 1518899"/>
                    <a:gd name="connsiteX4" fmla="*/ 324 w 543143"/>
                    <a:gd name="connsiteY4" fmla="*/ 754968 h 1518899"/>
                    <a:gd name="connsiteX5" fmla="*/ 347650 w 543143"/>
                    <a:gd name="connsiteY5" fmla="*/ 754968 h 1518899"/>
                    <a:gd name="connsiteX6" fmla="*/ 387783 w 543143"/>
                    <a:gd name="connsiteY6" fmla="*/ 1171561 h 1518899"/>
                    <a:gd name="connsiteX7" fmla="*/ 427916 w 543143"/>
                    <a:gd name="connsiteY7" fmla="*/ 754968 h 1518899"/>
                    <a:gd name="connsiteX8" fmla="*/ 387783 w 543143"/>
                    <a:gd name="connsiteY8" fmla="*/ 338375 h 1518899"/>
                    <a:gd name="connsiteX9" fmla="*/ 347650 w 543143"/>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67086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67086 w 462447"/>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31227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31227 w 462447"/>
                    <a:gd name="connsiteY9" fmla="*/ 754968 h 1518899"/>
                    <a:gd name="connsiteX0" fmla="*/ 11 w 461176"/>
                    <a:gd name="connsiteY0" fmla="*/ 754968 h 1456148"/>
                    <a:gd name="connsiteX1" fmla="*/ 244035 w 461176"/>
                    <a:gd name="connsiteY1" fmla="*/ 14 h 1456148"/>
                    <a:gd name="connsiteX2" fmla="*/ 461165 w 461176"/>
                    <a:gd name="connsiteY2" fmla="*/ 737039 h 1456148"/>
                    <a:gd name="connsiteX3" fmla="*/ 235070 w 461176"/>
                    <a:gd name="connsiteY3" fmla="*/ 1456134 h 1456148"/>
                    <a:gd name="connsiteX4" fmla="*/ 11 w 461176"/>
                    <a:gd name="connsiteY4" fmla="*/ 754968 h 1456148"/>
                    <a:gd name="connsiteX5" fmla="*/ 230795 w 461176"/>
                    <a:gd name="connsiteY5" fmla="*/ 754968 h 1456148"/>
                    <a:gd name="connsiteX6" fmla="*/ 306787 w 461176"/>
                    <a:gd name="connsiteY6" fmla="*/ 1171561 h 1456148"/>
                    <a:gd name="connsiteX7" fmla="*/ 346920 w 461176"/>
                    <a:gd name="connsiteY7" fmla="*/ 754968 h 1456148"/>
                    <a:gd name="connsiteX8" fmla="*/ 306787 w 461176"/>
                    <a:gd name="connsiteY8" fmla="*/ 338375 h 1456148"/>
                    <a:gd name="connsiteX9" fmla="*/ 230795 w 461176"/>
                    <a:gd name="connsiteY9" fmla="*/ 754968 h 1456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176" h="1456148">
                      <a:moveTo>
                        <a:pt x="11" y="754968"/>
                      </a:moveTo>
                      <a:cubicBezTo>
                        <a:pt x="1505" y="512281"/>
                        <a:pt x="167176" y="3002"/>
                        <a:pt x="244035" y="14"/>
                      </a:cubicBezTo>
                      <a:cubicBezTo>
                        <a:pt x="320894" y="-2974"/>
                        <a:pt x="462659" y="494352"/>
                        <a:pt x="461165" y="737039"/>
                      </a:cubicBezTo>
                      <a:cubicBezTo>
                        <a:pt x="459671" y="979726"/>
                        <a:pt x="311929" y="1453146"/>
                        <a:pt x="235070" y="1456134"/>
                      </a:cubicBezTo>
                      <a:cubicBezTo>
                        <a:pt x="158211" y="1459122"/>
                        <a:pt x="-1483" y="997655"/>
                        <a:pt x="11" y="754968"/>
                      </a:cubicBezTo>
                      <a:close/>
                      <a:moveTo>
                        <a:pt x="230795" y="754968"/>
                      </a:moveTo>
                      <a:cubicBezTo>
                        <a:pt x="230795" y="985046"/>
                        <a:pt x="287433" y="1171561"/>
                        <a:pt x="306787" y="1171561"/>
                      </a:cubicBezTo>
                      <a:cubicBezTo>
                        <a:pt x="326141" y="1171561"/>
                        <a:pt x="346920" y="985046"/>
                        <a:pt x="346920" y="754968"/>
                      </a:cubicBezTo>
                      <a:cubicBezTo>
                        <a:pt x="346920" y="524890"/>
                        <a:pt x="326141" y="338375"/>
                        <a:pt x="306787" y="338375"/>
                      </a:cubicBezTo>
                      <a:cubicBezTo>
                        <a:pt x="287433" y="338375"/>
                        <a:pt x="230795" y="524890"/>
                        <a:pt x="230795" y="754968"/>
                      </a:cubicBezTo>
                      <a:close/>
                    </a:path>
                  </a:pathLst>
                </a:custGeom>
                <a:solidFill>
                  <a:srgbClr val="7B7A7A"/>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sp>
              <p:nvSpPr>
                <p:cNvPr id="182" name="Donut 181"/>
                <p:cNvSpPr/>
                <p:nvPr/>
              </p:nvSpPr>
              <p:spPr>
                <a:xfrm>
                  <a:off x="7237831" y="1331389"/>
                  <a:ext cx="564776" cy="1567780"/>
                </a:xfrm>
                <a:prstGeom prst="donut">
                  <a:avLst/>
                </a:prstGeom>
                <a:solidFill>
                  <a:srgbClr val="0071C6"/>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grpSp>
        <p:grpSp>
          <p:nvGrpSpPr>
            <p:cNvPr id="143" name="Group 142"/>
            <p:cNvGrpSpPr/>
            <p:nvPr/>
          </p:nvGrpSpPr>
          <p:grpSpPr>
            <a:xfrm>
              <a:off x="8421098" y="2926394"/>
              <a:ext cx="622292" cy="776537"/>
              <a:chOff x="8467245" y="2757788"/>
              <a:chExt cx="622292" cy="776537"/>
            </a:xfrm>
          </p:grpSpPr>
          <p:grpSp>
            <p:nvGrpSpPr>
              <p:cNvPr id="160" name="Group 159"/>
              <p:cNvGrpSpPr/>
              <p:nvPr/>
            </p:nvGrpSpPr>
            <p:grpSpPr>
              <a:xfrm>
                <a:off x="8822263" y="2821623"/>
                <a:ext cx="171962" cy="482437"/>
                <a:chOff x="7237831" y="1331389"/>
                <a:chExt cx="564776" cy="1546282"/>
              </a:xfrm>
            </p:grpSpPr>
            <p:sp>
              <p:nvSpPr>
                <p:cNvPr id="177" name="Donut 18"/>
                <p:cNvSpPr/>
                <p:nvPr/>
              </p:nvSpPr>
              <p:spPr>
                <a:xfrm>
                  <a:off x="7318503" y="1358784"/>
                  <a:ext cx="461176" cy="1456148"/>
                </a:xfrm>
                <a:custGeom>
                  <a:avLst/>
                  <a:gdLst>
                    <a:gd name="connsiteX0" fmla="*/ 0 w 774919"/>
                    <a:gd name="connsiteY0" fmla="*/ 763919 h 1527838"/>
                    <a:gd name="connsiteX1" fmla="*/ 387460 w 774919"/>
                    <a:gd name="connsiteY1" fmla="*/ 0 h 1527838"/>
                    <a:gd name="connsiteX2" fmla="*/ 774920 w 774919"/>
                    <a:gd name="connsiteY2" fmla="*/ 763919 h 1527838"/>
                    <a:gd name="connsiteX3" fmla="*/ 387460 w 774919"/>
                    <a:gd name="connsiteY3" fmla="*/ 1527838 h 1527838"/>
                    <a:gd name="connsiteX4" fmla="*/ 0 w 774919"/>
                    <a:gd name="connsiteY4" fmla="*/ 763919 h 1527838"/>
                    <a:gd name="connsiteX5" fmla="*/ 347326 w 774919"/>
                    <a:gd name="connsiteY5" fmla="*/ 763919 h 1527838"/>
                    <a:gd name="connsiteX6" fmla="*/ 387459 w 774919"/>
                    <a:gd name="connsiteY6" fmla="*/ 1180512 h 1527838"/>
                    <a:gd name="connsiteX7" fmla="*/ 427592 w 774919"/>
                    <a:gd name="connsiteY7" fmla="*/ 763919 h 1527838"/>
                    <a:gd name="connsiteX8" fmla="*/ 387459 w 774919"/>
                    <a:gd name="connsiteY8" fmla="*/ 347326 h 1527838"/>
                    <a:gd name="connsiteX9" fmla="*/ 347326 w 774919"/>
                    <a:gd name="connsiteY9" fmla="*/ 763919 h 1527838"/>
                    <a:gd name="connsiteX0" fmla="*/ 0 w 541837"/>
                    <a:gd name="connsiteY0" fmla="*/ 763939 h 1527877"/>
                    <a:gd name="connsiteX1" fmla="*/ 387460 w 541837"/>
                    <a:gd name="connsiteY1" fmla="*/ 20 h 1527877"/>
                    <a:gd name="connsiteX2" fmla="*/ 541837 w 541837"/>
                    <a:gd name="connsiteY2" fmla="*/ 746010 h 1527877"/>
                    <a:gd name="connsiteX3" fmla="*/ 387460 w 541837"/>
                    <a:gd name="connsiteY3" fmla="*/ 1527858 h 1527877"/>
                    <a:gd name="connsiteX4" fmla="*/ 0 w 541837"/>
                    <a:gd name="connsiteY4" fmla="*/ 763939 h 1527877"/>
                    <a:gd name="connsiteX5" fmla="*/ 347326 w 541837"/>
                    <a:gd name="connsiteY5" fmla="*/ 763939 h 1527877"/>
                    <a:gd name="connsiteX6" fmla="*/ 387459 w 541837"/>
                    <a:gd name="connsiteY6" fmla="*/ 1180532 h 1527877"/>
                    <a:gd name="connsiteX7" fmla="*/ 427592 w 541837"/>
                    <a:gd name="connsiteY7" fmla="*/ 763939 h 1527877"/>
                    <a:gd name="connsiteX8" fmla="*/ 387459 w 541837"/>
                    <a:gd name="connsiteY8" fmla="*/ 347346 h 1527877"/>
                    <a:gd name="connsiteX9" fmla="*/ 347326 w 541837"/>
                    <a:gd name="connsiteY9" fmla="*/ 763939 h 1527877"/>
                    <a:gd name="connsiteX0" fmla="*/ 324 w 543143"/>
                    <a:gd name="connsiteY0" fmla="*/ 754968 h 1518899"/>
                    <a:gd name="connsiteX1" fmla="*/ 325031 w 543143"/>
                    <a:gd name="connsiteY1" fmla="*/ 14 h 1518899"/>
                    <a:gd name="connsiteX2" fmla="*/ 542161 w 543143"/>
                    <a:gd name="connsiteY2" fmla="*/ 737039 h 1518899"/>
                    <a:gd name="connsiteX3" fmla="*/ 387784 w 543143"/>
                    <a:gd name="connsiteY3" fmla="*/ 1518887 h 1518899"/>
                    <a:gd name="connsiteX4" fmla="*/ 324 w 543143"/>
                    <a:gd name="connsiteY4" fmla="*/ 754968 h 1518899"/>
                    <a:gd name="connsiteX5" fmla="*/ 347650 w 543143"/>
                    <a:gd name="connsiteY5" fmla="*/ 754968 h 1518899"/>
                    <a:gd name="connsiteX6" fmla="*/ 387783 w 543143"/>
                    <a:gd name="connsiteY6" fmla="*/ 1171561 h 1518899"/>
                    <a:gd name="connsiteX7" fmla="*/ 427916 w 543143"/>
                    <a:gd name="connsiteY7" fmla="*/ 754968 h 1518899"/>
                    <a:gd name="connsiteX8" fmla="*/ 387783 w 543143"/>
                    <a:gd name="connsiteY8" fmla="*/ 338375 h 1518899"/>
                    <a:gd name="connsiteX9" fmla="*/ 347650 w 543143"/>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67086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67086 w 462447"/>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31227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31227 w 462447"/>
                    <a:gd name="connsiteY9" fmla="*/ 754968 h 1518899"/>
                    <a:gd name="connsiteX0" fmla="*/ 11 w 461176"/>
                    <a:gd name="connsiteY0" fmla="*/ 754968 h 1456148"/>
                    <a:gd name="connsiteX1" fmla="*/ 244035 w 461176"/>
                    <a:gd name="connsiteY1" fmla="*/ 14 h 1456148"/>
                    <a:gd name="connsiteX2" fmla="*/ 461165 w 461176"/>
                    <a:gd name="connsiteY2" fmla="*/ 737039 h 1456148"/>
                    <a:gd name="connsiteX3" fmla="*/ 235070 w 461176"/>
                    <a:gd name="connsiteY3" fmla="*/ 1456134 h 1456148"/>
                    <a:gd name="connsiteX4" fmla="*/ 11 w 461176"/>
                    <a:gd name="connsiteY4" fmla="*/ 754968 h 1456148"/>
                    <a:gd name="connsiteX5" fmla="*/ 230795 w 461176"/>
                    <a:gd name="connsiteY5" fmla="*/ 754968 h 1456148"/>
                    <a:gd name="connsiteX6" fmla="*/ 306787 w 461176"/>
                    <a:gd name="connsiteY6" fmla="*/ 1171561 h 1456148"/>
                    <a:gd name="connsiteX7" fmla="*/ 346920 w 461176"/>
                    <a:gd name="connsiteY7" fmla="*/ 754968 h 1456148"/>
                    <a:gd name="connsiteX8" fmla="*/ 306787 w 461176"/>
                    <a:gd name="connsiteY8" fmla="*/ 338375 h 1456148"/>
                    <a:gd name="connsiteX9" fmla="*/ 230795 w 461176"/>
                    <a:gd name="connsiteY9" fmla="*/ 754968 h 1456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176" h="1456148">
                      <a:moveTo>
                        <a:pt x="11" y="754968"/>
                      </a:moveTo>
                      <a:cubicBezTo>
                        <a:pt x="1505" y="512281"/>
                        <a:pt x="167176" y="3002"/>
                        <a:pt x="244035" y="14"/>
                      </a:cubicBezTo>
                      <a:cubicBezTo>
                        <a:pt x="320894" y="-2974"/>
                        <a:pt x="462659" y="494352"/>
                        <a:pt x="461165" y="737039"/>
                      </a:cubicBezTo>
                      <a:cubicBezTo>
                        <a:pt x="459671" y="979726"/>
                        <a:pt x="311929" y="1453146"/>
                        <a:pt x="235070" y="1456134"/>
                      </a:cubicBezTo>
                      <a:cubicBezTo>
                        <a:pt x="158211" y="1459122"/>
                        <a:pt x="-1483" y="997655"/>
                        <a:pt x="11" y="754968"/>
                      </a:cubicBezTo>
                      <a:close/>
                      <a:moveTo>
                        <a:pt x="230795" y="754968"/>
                      </a:moveTo>
                      <a:cubicBezTo>
                        <a:pt x="230795" y="985046"/>
                        <a:pt x="287433" y="1171561"/>
                        <a:pt x="306787" y="1171561"/>
                      </a:cubicBezTo>
                      <a:cubicBezTo>
                        <a:pt x="326141" y="1171561"/>
                        <a:pt x="346920" y="985046"/>
                        <a:pt x="346920" y="754968"/>
                      </a:cubicBezTo>
                      <a:cubicBezTo>
                        <a:pt x="346920" y="524890"/>
                        <a:pt x="326141" y="338375"/>
                        <a:pt x="306787" y="338375"/>
                      </a:cubicBezTo>
                      <a:cubicBezTo>
                        <a:pt x="287433" y="338375"/>
                        <a:pt x="230795" y="524890"/>
                        <a:pt x="230795" y="754968"/>
                      </a:cubicBezTo>
                      <a:close/>
                    </a:path>
                  </a:pathLst>
                </a:custGeom>
                <a:solidFill>
                  <a:schemeClr val="bg1">
                    <a:lumMod val="50000"/>
                  </a:schemeClr>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sp>
              <p:nvSpPr>
                <p:cNvPr id="178" name="Oval 177"/>
                <p:cNvSpPr/>
                <p:nvPr/>
              </p:nvSpPr>
              <p:spPr>
                <a:xfrm>
                  <a:off x="7237831" y="1331389"/>
                  <a:ext cx="564776" cy="1546282"/>
                </a:xfrm>
                <a:prstGeom prst="ellipse">
                  <a:avLst/>
                </a:prstGeom>
                <a:solidFill>
                  <a:schemeClr val="accent3">
                    <a:lumMod val="50000"/>
                  </a:schemeClr>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sp>
            <p:nvSpPr>
              <p:cNvPr id="161" name="Oval 160"/>
              <p:cNvSpPr/>
              <p:nvPr/>
            </p:nvSpPr>
            <p:spPr>
              <a:xfrm flipH="1">
                <a:off x="8553084" y="2813409"/>
                <a:ext cx="465837" cy="465836"/>
              </a:xfrm>
              <a:prstGeom prst="ellipse">
                <a:avLst/>
              </a:prstGeom>
              <a:solidFill>
                <a:srgbClr val="59B4D9"/>
              </a:solidFill>
              <a:ln w="3175">
                <a:solidFill>
                  <a:schemeClr val="accent3"/>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latin typeface="OCR A Extended" panose="02010509020102010303" pitchFamily="50" charset="0"/>
                </a:endParaRPr>
              </a:p>
            </p:txBody>
          </p:sp>
          <p:grpSp>
            <p:nvGrpSpPr>
              <p:cNvPr id="162" name="Group 161"/>
              <p:cNvGrpSpPr/>
              <p:nvPr/>
            </p:nvGrpSpPr>
            <p:grpSpPr>
              <a:xfrm>
                <a:off x="8596999" y="2798236"/>
                <a:ext cx="377713" cy="446059"/>
                <a:chOff x="3761989" y="1519463"/>
                <a:chExt cx="1533392" cy="1810864"/>
              </a:xfrm>
            </p:grpSpPr>
            <p:sp>
              <p:nvSpPr>
                <p:cNvPr id="165" name="TextBox 164"/>
                <p:cNvSpPr txBox="1"/>
                <p:nvPr/>
              </p:nvSpPr>
              <p:spPr>
                <a:xfrm>
                  <a:off x="3761989" y="1519463"/>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66" name="TextBox 165"/>
                <p:cNvSpPr txBox="1"/>
                <p:nvPr/>
              </p:nvSpPr>
              <p:spPr>
                <a:xfrm>
                  <a:off x="4166386" y="2124170"/>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167" name="TextBox 166"/>
                <p:cNvSpPr txBox="1"/>
                <p:nvPr/>
              </p:nvSpPr>
              <p:spPr>
                <a:xfrm>
                  <a:off x="4975179" y="2124170"/>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168" name="TextBox 167"/>
                <p:cNvSpPr txBox="1"/>
                <p:nvPr/>
              </p:nvSpPr>
              <p:spPr>
                <a:xfrm>
                  <a:off x="4570783" y="1519463"/>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69" name="TextBox 168"/>
                <p:cNvSpPr txBox="1"/>
                <p:nvPr/>
              </p:nvSpPr>
              <p:spPr>
                <a:xfrm>
                  <a:off x="3761989" y="2124170"/>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70" name="TextBox 169"/>
                <p:cNvSpPr txBox="1"/>
                <p:nvPr/>
              </p:nvSpPr>
              <p:spPr>
                <a:xfrm>
                  <a:off x="4975184" y="2699786"/>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71" name="TextBox 170"/>
                <p:cNvSpPr txBox="1"/>
                <p:nvPr/>
              </p:nvSpPr>
              <p:spPr>
                <a:xfrm>
                  <a:off x="4166385" y="1519463"/>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172" name="TextBox 171"/>
                <p:cNvSpPr txBox="1"/>
                <p:nvPr/>
              </p:nvSpPr>
              <p:spPr>
                <a:xfrm>
                  <a:off x="4570780" y="2699791"/>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73" name="TextBox 172"/>
                <p:cNvSpPr txBox="1"/>
                <p:nvPr/>
              </p:nvSpPr>
              <p:spPr>
                <a:xfrm>
                  <a:off x="4570780" y="2124170"/>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74" name="TextBox 173"/>
                <p:cNvSpPr txBox="1"/>
                <p:nvPr/>
              </p:nvSpPr>
              <p:spPr>
                <a:xfrm>
                  <a:off x="4975176" y="1519463"/>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175" name="TextBox 174"/>
                <p:cNvSpPr txBox="1"/>
                <p:nvPr/>
              </p:nvSpPr>
              <p:spPr>
                <a:xfrm>
                  <a:off x="4166384" y="2699791"/>
                  <a:ext cx="320195"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76" name="TextBox 175"/>
                <p:cNvSpPr txBox="1"/>
                <p:nvPr/>
              </p:nvSpPr>
              <p:spPr>
                <a:xfrm>
                  <a:off x="3761994" y="2699791"/>
                  <a:ext cx="320195"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grpSp>
          <p:sp>
            <p:nvSpPr>
              <p:cNvPr id="163" name="Donut 162"/>
              <p:cNvSpPr/>
              <p:nvPr/>
            </p:nvSpPr>
            <p:spPr>
              <a:xfrm>
                <a:off x="8512459" y="2757788"/>
                <a:ext cx="577078" cy="577078"/>
              </a:xfrm>
              <a:prstGeom prst="donut">
                <a:avLst>
                  <a:gd name="adj" fmla="val 12638"/>
                </a:avLst>
              </a:prstGeom>
              <a:solidFill>
                <a:srgbClr val="3E3E3E"/>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accent2">
                      <a:lumMod val="20000"/>
                      <a:lumOff val="80000"/>
                    </a:schemeClr>
                  </a:solidFill>
                  <a:latin typeface="OCR A Extended" panose="02010509020102010303" pitchFamily="50" charset="0"/>
                </a:endParaRPr>
              </a:p>
            </p:txBody>
          </p:sp>
          <p:sp>
            <p:nvSpPr>
              <p:cNvPr id="164" name="Rounded Rectangle 163"/>
              <p:cNvSpPr/>
              <p:nvPr/>
            </p:nvSpPr>
            <p:spPr>
              <a:xfrm rot="18803373">
                <a:off x="8347393" y="3301611"/>
                <a:ext cx="352566" cy="112861"/>
              </a:xfrm>
              <a:prstGeom prst="roundRect">
                <a:avLst>
                  <a:gd name="adj" fmla="val 50000"/>
                </a:avLst>
              </a:prstGeom>
              <a:solidFill>
                <a:srgbClr val="3E3E3E"/>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latin typeface="OCR A Extended" panose="02010509020102010303" pitchFamily="50" charset="0"/>
                </a:endParaRPr>
              </a:p>
            </p:txBody>
          </p:sp>
        </p:grpSp>
        <p:sp>
          <p:nvSpPr>
            <p:cNvPr id="144" name="TextBox 143"/>
            <p:cNvSpPr txBox="1"/>
            <p:nvPr/>
          </p:nvSpPr>
          <p:spPr>
            <a:xfrm>
              <a:off x="7856809" y="2688141"/>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45" name="TextBox 144"/>
            <p:cNvSpPr txBox="1"/>
            <p:nvPr/>
          </p:nvSpPr>
          <p:spPr>
            <a:xfrm>
              <a:off x="7945210" y="3038929"/>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46" name="TextBox 145"/>
            <p:cNvSpPr txBox="1"/>
            <p:nvPr/>
          </p:nvSpPr>
          <p:spPr>
            <a:xfrm>
              <a:off x="8209563" y="3021981"/>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47" name="TextBox 146"/>
            <p:cNvSpPr txBox="1"/>
            <p:nvPr/>
          </p:nvSpPr>
          <p:spPr>
            <a:xfrm>
              <a:off x="8214300" y="2858327"/>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48" name="TextBox 147"/>
            <p:cNvSpPr txBox="1"/>
            <p:nvPr/>
          </p:nvSpPr>
          <p:spPr>
            <a:xfrm>
              <a:off x="7650446" y="2916337"/>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49" name="TextBox 148"/>
            <p:cNvSpPr txBox="1"/>
            <p:nvPr/>
          </p:nvSpPr>
          <p:spPr>
            <a:xfrm>
              <a:off x="8053676" y="2996826"/>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50" name="TextBox 149"/>
            <p:cNvSpPr txBox="1"/>
            <p:nvPr/>
          </p:nvSpPr>
          <p:spPr>
            <a:xfrm>
              <a:off x="7843002" y="2935033"/>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51" name="TextBox 150"/>
            <p:cNvSpPr txBox="1"/>
            <p:nvPr/>
          </p:nvSpPr>
          <p:spPr>
            <a:xfrm>
              <a:off x="8113654" y="2922143"/>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52" name="TextBox 151"/>
            <p:cNvSpPr txBox="1"/>
            <p:nvPr/>
          </p:nvSpPr>
          <p:spPr>
            <a:xfrm>
              <a:off x="8124140" y="2741923"/>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53" name="TextBox 152"/>
            <p:cNvSpPr txBox="1"/>
            <p:nvPr/>
          </p:nvSpPr>
          <p:spPr>
            <a:xfrm>
              <a:off x="7737120" y="2990229"/>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54" name="TextBox 153"/>
            <p:cNvSpPr txBox="1"/>
            <p:nvPr/>
          </p:nvSpPr>
          <p:spPr>
            <a:xfrm>
              <a:off x="7763481" y="2737764"/>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55" name="TextBox 154"/>
            <p:cNvSpPr txBox="1"/>
            <p:nvPr/>
          </p:nvSpPr>
          <p:spPr>
            <a:xfrm>
              <a:off x="7974881" y="2849434"/>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56" name="TextBox 155"/>
            <p:cNvSpPr txBox="1"/>
            <p:nvPr/>
          </p:nvSpPr>
          <p:spPr>
            <a:xfrm>
              <a:off x="7680582" y="2764689"/>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57" name="TextBox 156"/>
            <p:cNvSpPr txBox="1"/>
            <p:nvPr/>
          </p:nvSpPr>
          <p:spPr>
            <a:xfrm>
              <a:off x="7713328" y="3144002"/>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58" name="TextBox 157"/>
            <p:cNvSpPr txBox="1"/>
            <p:nvPr/>
          </p:nvSpPr>
          <p:spPr>
            <a:xfrm>
              <a:off x="7841889" y="3079727"/>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59" name="TextBox 158"/>
            <p:cNvSpPr txBox="1"/>
            <p:nvPr/>
          </p:nvSpPr>
          <p:spPr>
            <a:xfrm>
              <a:off x="8009053" y="2757390"/>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grpSp>
      <p:sp>
        <p:nvSpPr>
          <p:cNvPr id="190" name="Freeform 189"/>
          <p:cNvSpPr>
            <a:spLocks noChangeAspect="1"/>
          </p:cNvSpPr>
          <p:nvPr/>
        </p:nvSpPr>
        <p:spPr bwMode="auto">
          <a:xfrm rot="5280000">
            <a:off x="5370675" y="3586941"/>
            <a:ext cx="830312" cy="1055797"/>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gradFill>
            <a:gsLst>
              <a:gs pos="50000">
                <a:srgbClr val="5EB6DA"/>
              </a:gs>
              <a:gs pos="50000">
                <a:srgbClr val="3999C6"/>
              </a:gs>
            </a:gsLst>
            <a:lin ang="60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eaLnBrk="1" fontAlgn="auto" hangingPunct="1">
              <a:spcBef>
                <a:spcPts val="0"/>
              </a:spcBef>
              <a:spcAft>
                <a:spcPts val="0"/>
              </a:spcAft>
            </a:pPr>
            <a:endParaRPr lang="en-US"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4141781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62"/>
                                        </p:tgtEl>
                                        <p:attrNameLst>
                                          <p:attrName>style.visibility</p:attrName>
                                        </p:attrNameLst>
                                      </p:cBhvr>
                                      <p:to>
                                        <p:strVal val="visible"/>
                                      </p:to>
                                    </p:set>
                                    <p:animEffect transition="in" filter="fade">
                                      <p:cBhvr>
                                        <p:cTn id="10" dur="500"/>
                                        <p:tgtEl>
                                          <p:spTgt spid="62"/>
                                        </p:tgtEl>
                                      </p:cBhvr>
                                    </p:animEffect>
                                  </p:childTnLst>
                                </p:cTn>
                              </p:par>
                              <p:par>
                                <p:cTn id="11" presetID="10" presetClass="entr" presetSubtype="0" fill="hold" nodeType="withEffect">
                                  <p:stCondLst>
                                    <p:cond delay="0"/>
                                  </p:stCondLst>
                                  <p:childTnLst>
                                    <p:set>
                                      <p:cBhvr>
                                        <p:cTn id="12" dur="1" fill="hold">
                                          <p:stCondLst>
                                            <p:cond delay="0"/>
                                          </p:stCondLst>
                                        </p:cTn>
                                        <p:tgtEl>
                                          <p:spTgt spid="90"/>
                                        </p:tgtEl>
                                        <p:attrNameLst>
                                          <p:attrName>style.visibility</p:attrName>
                                        </p:attrNameLst>
                                      </p:cBhvr>
                                      <p:to>
                                        <p:strVal val="visible"/>
                                      </p:to>
                                    </p:set>
                                    <p:animEffect transition="in" filter="fade">
                                      <p:cBhvr>
                                        <p:cTn id="13" dur="500"/>
                                        <p:tgtEl>
                                          <p:spTgt spid="90"/>
                                        </p:tgtEl>
                                      </p:cBhvr>
                                    </p:animEffect>
                                  </p:childTnLst>
                                </p:cTn>
                              </p:par>
                              <p:par>
                                <p:cTn id="14" presetID="10" presetClass="entr" presetSubtype="0" fill="hold" nodeType="withEffect">
                                  <p:stCondLst>
                                    <p:cond delay="0"/>
                                  </p:stCondLst>
                                  <p:childTnLst>
                                    <p:set>
                                      <p:cBhvr>
                                        <p:cTn id="15" dur="1" fill="hold">
                                          <p:stCondLst>
                                            <p:cond delay="0"/>
                                          </p:stCondLst>
                                        </p:cTn>
                                        <p:tgtEl>
                                          <p:spTgt spid="53"/>
                                        </p:tgtEl>
                                        <p:attrNameLst>
                                          <p:attrName>style.visibility</p:attrName>
                                        </p:attrNameLst>
                                      </p:cBhvr>
                                      <p:to>
                                        <p:strVal val="visible"/>
                                      </p:to>
                                    </p:set>
                                    <p:animEffect transition="in" filter="fade">
                                      <p:cBhvr>
                                        <p:cTn id="16" dur="500"/>
                                        <p:tgtEl>
                                          <p:spTgt spid="53"/>
                                        </p:tgtEl>
                                      </p:cBhvr>
                                    </p:animEffect>
                                  </p:childTnLst>
                                </p:cTn>
                              </p:par>
                              <p:par>
                                <p:cTn id="17" presetID="10" presetClass="entr" presetSubtype="0" fill="hold"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98"/>
                                        </p:tgtEl>
                                        <p:attrNameLst>
                                          <p:attrName>style.visibility</p:attrName>
                                        </p:attrNameLst>
                                      </p:cBhvr>
                                      <p:to>
                                        <p:strVal val="visible"/>
                                      </p:to>
                                    </p:set>
                                    <p:animEffect transition="in" filter="fade">
                                      <p:cBhvr>
                                        <p:cTn id="22" dur="500"/>
                                        <p:tgtEl>
                                          <p:spTgt spid="9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500"/>
                                        <p:tgtEl>
                                          <p:spTgt spid="12"/>
                                        </p:tgtEl>
                                      </p:cBhvr>
                                    </p:animEffect>
                                  </p:childTnLst>
                                </p:cTn>
                              </p:par>
                              <p:par>
                                <p:cTn id="26" presetID="10" presetClass="entr" presetSubtype="0" fill="hold"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par>
                                <p:cTn id="32" presetID="10" presetClass="entr" presetSubtype="0" fill="hold" nodeType="withEffect">
                                  <p:stCondLst>
                                    <p:cond delay="0"/>
                                  </p:stCondLst>
                                  <p:childTnLst>
                                    <p:set>
                                      <p:cBhvr>
                                        <p:cTn id="33" dur="1" fill="hold">
                                          <p:stCondLst>
                                            <p:cond delay="0"/>
                                          </p:stCondLst>
                                        </p:cTn>
                                        <p:tgtEl>
                                          <p:spTgt spid="89"/>
                                        </p:tgtEl>
                                        <p:attrNameLst>
                                          <p:attrName>style.visibility</p:attrName>
                                        </p:attrNameLst>
                                      </p:cBhvr>
                                      <p:to>
                                        <p:strVal val="visible"/>
                                      </p:to>
                                    </p:set>
                                    <p:animEffect transition="in" filter="fade">
                                      <p:cBhvr>
                                        <p:cTn id="34" dur="500"/>
                                        <p:tgtEl>
                                          <p:spTgt spid="8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4"/>
                                        </p:tgtEl>
                                        <p:attrNameLst>
                                          <p:attrName>style.visibility</p:attrName>
                                        </p:attrNameLst>
                                      </p:cBhvr>
                                      <p:to>
                                        <p:strVal val="visible"/>
                                      </p:to>
                                    </p:set>
                                    <p:animEffect transition="in" filter="fade">
                                      <p:cBhvr>
                                        <p:cTn id="37" dur="500"/>
                                        <p:tgtEl>
                                          <p:spTgt spid="14"/>
                                        </p:tgtEl>
                                      </p:cBhvr>
                                    </p:animEffect>
                                  </p:childTnLst>
                                </p:cTn>
                              </p:par>
                              <p:par>
                                <p:cTn id="38" presetID="10" presetClass="entr" presetSubtype="0" fill="hold" nodeType="withEffect">
                                  <p:stCondLst>
                                    <p:cond delay="0"/>
                                  </p:stCondLst>
                                  <p:childTnLst>
                                    <p:set>
                                      <p:cBhvr>
                                        <p:cTn id="39" dur="1" fill="hold">
                                          <p:stCondLst>
                                            <p:cond delay="0"/>
                                          </p:stCondLst>
                                        </p:cTn>
                                        <p:tgtEl>
                                          <p:spTgt spid="85"/>
                                        </p:tgtEl>
                                        <p:attrNameLst>
                                          <p:attrName>style.visibility</p:attrName>
                                        </p:attrNameLst>
                                      </p:cBhvr>
                                      <p:to>
                                        <p:strVal val="visible"/>
                                      </p:to>
                                    </p:set>
                                    <p:animEffect transition="in" filter="fade">
                                      <p:cBhvr>
                                        <p:cTn id="40" dur="500"/>
                                        <p:tgtEl>
                                          <p:spTgt spid="85"/>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2"/>
                                        </p:tgtEl>
                                        <p:attrNameLst>
                                          <p:attrName>style.visibility</p:attrName>
                                        </p:attrNameLst>
                                      </p:cBhvr>
                                      <p:to>
                                        <p:strVal val="visible"/>
                                      </p:to>
                                    </p:set>
                                    <p:animEffect transition="in" filter="fade">
                                      <p:cBhvr>
                                        <p:cTn id="45" dur="500"/>
                                        <p:tgtEl>
                                          <p:spTgt spid="2"/>
                                        </p:tgtEl>
                                      </p:cBhvr>
                                    </p:animEffect>
                                  </p:childTnLst>
                                </p:cTn>
                              </p:par>
                              <p:par>
                                <p:cTn id="46" presetID="10" presetClass="entr" presetSubtype="0" fill="hold" nodeType="withEffect">
                                  <p:stCondLst>
                                    <p:cond delay="0"/>
                                  </p:stCondLst>
                                  <p:childTnLst>
                                    <p:set>
                                      <p:cBhvr>
                                        <p:cTn id="47" dur="1" fill="hold">
                                          <p:stCondLst>
                                            <p:cond delay="0"/>
                                          </p:stCondLst>
                                        </p:cTn>
                                        <p:tgtEl>
                                          <p:spTgt spid="54"/>
                                        </p:tgtEl>
                                        <p:attrNameLst>
                                          <p:attrName>style.visibility</p:attrName>
                                        </p:attrNameLst>
                                      </p:cBhvr>
                                      <p:to>
                                        <p:strVal val="visible"/>
                                      </p:to>
                                    </p:set>
                                    <p:animEffect transition="in" filter="fade">
                                      <p:cBhvr>
                                        <p:cTn id="48" dur="500"/>
                                        <p:tgtEl>
                                          <p:spTgt spid="54"/>
                                        </p:tgtEl>
                                      </p:cBhvr>
                                    </p:animEffect>
                                  </p:childTnLst>
                                </p:cTn>
                              </p:par>
                              <p:par>
                                <p:cTn id="49" presetID="10" presetClass="entr" presetSubtype="0" fill="hold" nodeType="withEffect">
                                  <p:stCondLst>
                                    <p:cond delay="0"/>
                                  </p:stCondLst>
                                  <p:childTnLst>
                                    <p:set>
                                      <p:cBhvr>
                                        <p:cTn id="50" dur="1" fill="hold">
                                          <p:stCondLst>
                                            <p:cond delay="0"/>
                                          </p:stCondLst>
                                        </p:cTn>
                                        <p:tgtEl>
                                          <p:spTgt spid="55"/>
                                        </p:tgtEl>
                                        <p:attrNameLst>
                                          <p:attrName>style.visibility</p:attrName>
                                        </p:attrNameLst>
                                      </p:cBhvr>
                                      <p:to>
                                        <p:strVal val="visible"/>
                                      </p:to>
                                    </p:set>
                                    <p:animEffect transition="in" filter="fade">
                                      <p:cBhvr>
                                        <p:cTn id="51" dur="500"/>
                                        <p:tgtEl>
                                          <p:spTgt spid="55"/>
                                        </p:tgtEl>
                                      </p:cBhvr>
                                    </p:animEffect>
                                  </p:childTnLst>
                                </p:cTn>
                              </p:par>
                              <p:par>
                                <p:cTn id="52" presetID="10" presetClass="entr" presetSubtype="0" fill="hold" nodeType="withEffect">
                                  <p:stCondLst>
                                    <p:cond delay="0"/>
                                  </p:stCondLst>
                                  <p:childTnLst>
                                    <p:set>
                                      <p:cBhvr>
                                        <p:cTn id="53" dur="1" fill="hold">
                                          <p:stCondLst>
                                            <p:cond delay="0"/>
                                          </p:stCondLst>
                                        </p:cTn>
                                        <p:tgtEl>
                                          <p:spTgt spid="56"/>
                                        </p:tgtEl>
                                        <p:attrNameLst>
                                          <p:attrName>style.visibility</p:attrName>
                                        </p:attrNameLst>
                                      </p:cBhvr>
                                      <p:to>
                                        <p:strVal val="visible"/>
                                      </p:to>
                                    </p:set>
                                    <p:animEffect transition="in" filter="fade">
                                      <p:cBhvr>
                                        <p:cTn id="54" dur="500"/>
                                        <p:tgtEl>
                                          <p:spTgt spid="56"/>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15"/>
                                        </p:tgtEl>
                                        <p:attrNameLst>
                                          <p:attrName>style.visibility</p:attrName>
                                        </p:attrNameLst>
                                      </p:cBhvr>
                                      <p:to>
                                        <p:strVal val="visible"/>
                                      </p:to>
                                    </p:set>
                                    <p:animEffect transition="in" filter="fade">
                                      <p:cBhvr>
                                        <p:cTn id="59" dur="500"/>
                                        <p:tgtEl>
                                          <p:spTgt spid="15"/>
                                        </p:tgtEl>
                                      </p:cBhvr>
                                    </p:animEffect>
                                  </p:childTnLst>
                                </p:cTn>
                              </p:par>
                              <p:par>
                                <p:cTn id="60" presetID="10" presetClass="entr" presetSubtype="0" fill="hold" nodeType="withEffect">
                                  <p:stCondLst>
                                    <p:cond delay="0"/>
                                  </p:stCondLst>
                                  <p:childTnLst>
                                    <p:set>
                                      <p:cBhvr>
                                        <p:cTn id="61" dur="1" fill="hold">
                                          <p:stCondLst>
                                            <p:cond delay="0"/>
                                          </p:stCondLst>
                                        </p:cTn>
                                        <p:tgtEl>
                                          <p:spTgt spid="57"/>
                                        </p:tgtEl>
                                        <p:attrNameLst>
                                          <p:attrName>style.visibility</p:attrName>
                                        </p:attrNameLst>
                                      </p:cBhvr>
                                      <p:to>
                                        <p:strVal val="visible"/>
                                      </p:to>
                                    </p:set>
                                    <p:animEffect transition="in" filter="fade">
                                      <p:cBhvr>
                                        <p:cTn id="62" dur="500"/>
                                        <p:tgtEl>
                                          <p:spTgt spid="57"/>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18"/>
                                        </p:tgtEl>
                                        <p:attrNameLst>
                                          <p:attrName>style.visibility</p:attrName>
                                        </p:attrNameLst>
                                      </p:cBhvr>
                                      <p:to>
                                        <p:strVal val="visible"/>
                                      </p:to>
                                    </p:set>
                                    <p:animEffect transition="in" filter="fade">
                                      <p:cBhvr>
                                        <p:cTn id="65" dur="500"/>
                                        <p:tgtEl>
                                          <p:spTgt spid="118"/>
                                        </p:tgtEl>
                                      </p:cBhvr>
                                    </p:animEffect>
                                  </p:childTnLst>
                                </p:cTn>
                              </p:par>
                              <p:par>
                                <p:cTn id="66" presetID="10" presetClass="entr" presetSubtype="0" fill="hold" nodeType="withEffect">
                                  <p:stCondLst>
                                    <p:cond delay="0"/>
                                  </p:stCondLst>
                                  <p:childTnLst>
                                    <p:set>
                                      <p:cBhvr>
                                        <p:cTn id="67" dur="1" fill="hold">
                                          <p:stCondLst>
                                            <p:cond delay="0"/>
                                          </p:stCondLst>
                                        </p:cTn>
                                        <p:tgtEl>
                                          <p:spTgt spid="58"/>
                                        </p:tgtEl>
                                        <p:attrNameLst>
                                          <p:attrName>style.visibility</p:attrName>
                                        </p:attrNameLst>
                                      </p:cBhvr>
                                      <p:to>
                                        <p:strVal val="visible"/>
                                      </p:to>
                                    </p:set>
                                    <p:animEffect transition="in" filter="fade">
                                      <p:cBhvr>
                                        <p:cTn id="68" dur="500"/>
                                        <p:tgtEl>
                                          <p:spTgt spid="58"/>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25"/>
                                        </p:tgtEl>
                                        <p:attrNameLst>
                                          <p:attrName>style.visibility</p:attrName>
                                        </p:attrNameLst>
                                      </p:cBhvr>
                                      <p:to>
                                        <p:strVal val="visible"/>
                                      </p:to>
                                    </p:set>
                                    <p:animEffect transition="in" filter="fade">
                                      <p:cBhvr>
                                        <p:cTn id="71" dur="500"/>
                                        <p:tgtEl>
                                          <p:spTgt spid="25"/>
                                        </p:tgtEl>
                                      </p:cBhvr>
                                    </p:animEffect>
                                  </p:childTnLst>
                                </p:cTn>
                              </p:par>
                              <p:par>
                                <p:cTn id="72" presetID="10" presetClass="entr" presetSubtype="0" fill="hold" nodeType="withEffect">
                                  <p:stCondLst>
                                    <p:cond delay="0"/>
                                  </p:stCondLst>
                                  <p:childTnLst>
                                    <p:set>
                                      <p:cBhvr>
                                        <p:cTn id="73" dur="1" fill="hold">
                                          <p:stCondLst>
                                            <p:cond delay="0"/>
                                          </p:stCondLst>
                                        </p:cTn>
                                        <p:tgtEl>
                                          <p:spTgt spid="31"/>
                                        </p:tgtEl>
                                        <p:attrNameLst>
                                          <p:attrName>style.visibility</p:attrName>
                                        </p:attrNameLst>
                                      </p:cBhvr>
                                      <p:to>
                                        <p:strVal val="visible"/>
                                      </p:to>
                                    </p:set>
                                    <p:animEffect transition="in" filter="fade">
                                      <p:cBhvr>
                                        <p:cTn id="74" dur="500"/>
                                        <p:tgtEl>
                                          <p:spTgt spid="31"/>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16"/>
                                        </p:tgtEl>
                                        <p:attrNameLst>
                                          <p:attrName>style.visibility</p:attrName>
                                        </p:attrNameLst>
                                      </p:cBhvr>
                                      <p:to>
                                        <p:strVal val="visible"/>
                                      </p:to>
                                    </p:set>
                                    <p:animEffect transition="in" filter="fade">
                                      <p:cBhvr>
                                        <p:cTn id="79" dur="500"/>
                                        <p:tgtEl>
                                          <p:spTgt spid="16"/>
                                        </p:tgtEl>
                                      </p:cBhvr>
                                    </p:animEffect>
                                  </p:childTnLst>
                                </p:cTn>
                              </p:par>
                              <p:par>
                                <p:cTn id="80" presetID="10" presetClass="entr" presetSubtype="0" fill="hold" nodeType="withEffect">
                                  <p:stCondLst>
                                    <p:cond delay="0"/>
                                  </p:stCondLst>
                                  <p:childTnLst>
                                    <p:set>
                                      <p:cBhvr>
                                        <p:cTn id="81" dur="1" fill="hold">
                                          <p:stCondLst>
                                            <p:cond delay="0"/>
                                          </p:stCondLst>
                                        </p:cTn>
                                        <p:tgtEl>
                                          <p:spTgt spid="59"/>
                                        </p:tgtEl>
                                        <p:attrNameLst>
                                          <p:attrName>style.visibility</p:attrName>
                                        </p:attrNameLst>
                                      </p:cBhvr>
                                      <p:to>
                                        <p:strVal val="visible"/>
                                      </p:to>
                                    </p:set>
                                    <p:animEffect transition="in" filter="fade">
                                      <p:cBhvr>
                                        <p:cTn id="82" dur="500"/>
                                        <p:tgtEl>
                                          <p:spTgt spid="59"/>
                                        </p:tgtEl>
                                      </p:cBhvr>
                                    </p:animEffect>
                                  </p:childTnLst>
                                </p:cTn>
                              </p:par>
                              <p:par>
                                <p:cTn id="83" presetID="10" presetClass="entr" presetSubtype="0" fill="hold" nodeType="withEffect">
                                  <p:stCondLst>
                                    <p:cond delay="0"/>
                                  </p:stCondLst>
                                  <p:childTnLst>
                                    <p:set>
                                      <p:cBhvr>
                                        <p:cTn id="84" dur="1" fill="hold">
                                          <p:stCondLst>
                                            <p:cond delay="0"/>
                                          </p:stCondLst>
                                        </p:cTn>
                                        <p:tgtEl>
                                          <p:spTgt spid="113"/>
                                        </p:tgtEl>
                                        <p:attrNameLst>
                                          <p:attrName>style.visibility</p:attrName>
                                        </p:attrNameLst>
                                      </p:cBhvr>
                                      <p:to>
                                        <p:strVal val="visible"/>
                                      </p:to>
                                    </p:set>
                                    <p:animEffect transition="in" filter="fade">
                                      <p:cBhvr>
                                        <p:cTn id="85" dur="500"/>
                                        <p:tgtEl>
                                          <p:spTgt spid="113"/>
                                        </p:tgtEl>
                                      </p:cBhvr>
                                    </p:animEffect>
                                  </p:childTnLst>
                                </p:cTn>
                              </p:par>
                            </p:childTnLst>
                          </p:cTn>
                        </p:par>
                      </p:childTnLst>
                    </p:cTn>
                  </p:par>
                  <p:par>
                    <p:cTn id="86" fill="hold">
                      <p:stCondLst>
                        <p:cond delay="indefinite"/>
                      </p:stCondLst>
                      <p:childTnLst>
                        <p:par>
                          <p:cTn id="87" fill="hold">
                            <p:stCondLst>
                              <p:cond delay="0"/>
                            </p:stCondLst>
                            <p:childTnLst>
                              <p:par>
                                <p:cTn id="88" presetID="10" presetClass="entr" presetSubtype="0" fill="hold" nodeType="clickEffect">
                                  <p:stCondLst>
                                    <p:cond delay="0"/>
                                  </p:stCondLst>
                                  <p:childTnLst>
                                    <p:set>
                                      <p:cBhvr>
                                        <p:cTn id="89" dur="1" fill="hold">
                                          <p:stCondLst>
                                            <p:cond delay="0"/>
                                          </p:stCondLst>
                                        </p:cTn>
                                        <p:tgtEl>
                                          <p:spTgt spid="111"/>
                                        </p:tgtEl>
                                        <p:attrNameLst>
                                          <p:attrName>style.visibility</p:attrName>
                                        </p:attrNameLst>
                                      </p:cBhvr>
                                      <p:to>
                                        <p:strVal val="visible"/>
                                      </p:to>
                                    </p:set>
                                    <p:animEffect transition="in" filter="fade">
                                      <p:cBhvr>
                                        <p:cTn id="90" dur="500"/>
                                        <p:tgtEl>
                                          <p:spTgt spid="111"/>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26"/>
                                        </p:tgtEl>
                                        <p:attrNameLst>
                                          <p:attrName>style.visibility</p:attrName>
                                        </p:attrNameLst>
                                      </p:cBhvr>
                                      <p:to>
                                        <p:strVal val="visible"/>
                                      </p:to>
                                    </p:set>
                                    <p:animEffect transition="in" filter="fade">
                                      <p:cBhvr>
                                        <p:cTn id="93" dur="500"/>
                                        <p:tgtEl>
                                          <p:spTgt spid="26"/>
                                        </p:tgtEl>
                                      </p:cBhvr>
                                    </p:animEffect>
                                  </p:childTnLst>
                                </p:cTn>
                              </p:par>
                            </p:childTnLst>
                          </p:cTn>
                        </p:par>
                      </p:childTnLst>
                    </p:cTn>
                  </p:par>
                  <p:par>
                    <p:cTn id="94" fill="hold">
                      <p:stCondLst>
                        <p:cond delay="indefinite"/>
                      </p:stCondLst>
                      <p:childTnLst>
                        <p:par>
                          <p:cTn id="95" fill="hold">
                            <p:stCondLst>
                              <p:cond delay="0"/>
                            </p:stCondLst>
                            <p:childTnLst>
                              <p:par>
                                <p:cTn id="96" presetID="10" presetClass="entr" presetSubtype="0" fill="hold" grpId="0" nodeType="clickEffect">
                                  <p:stCondLst>
                                    <p:cond delay="0"/>
                                  </p:stCondLst>
                                  <p:childTnLst>
                                    <p:set>
                                      <p:cBhvr>
                                        <p:cTn id="97" dur="1" fill="hold">
                                          <p:stCondLst>
                                            <p:cond delay="0"/>
                                          </p:stCondLst>
                                        </p:cTn>
                                        <p:tgtEl>
                                          <p:spTgt spid="17"/>
                                        </p:tgtEl>
                                        <p:attrNameLst>
                                          <p:attrName>style.visibility</p:attrName>
                                        </p:attrNameLst>
                                      </p:cBhvr>
                                      <p:to>
                                        <p:strVal val="visible"/>
                                      </p:to>
                                    </p:set>
                                    <p:animEffect transition="in" filter="fade">
                                      <p:cBhvr>
                                        <p:cTn id="98" dur="500"/>
                                        <p:tgtEl>
                                          <p:spTgt spid="17"/>
                                        </p:tgtEl>
                                      </p:cBhvr>
                                    </p:animEffect>
                                  </p:childTnLst>
                                </p:cTn>
                              </p:par>
                              <p:par>
                                <p:cTn id="99" presetID="10" presetClass="entr" presetSubtype="0" fill="hold" nodeType="withEffect">
                                  <p:stCondLst>
                                    <p:cond delay="0"/>
                                  </p:stCondLst>
                                  <p:childTnLst>
                                    <p:set>
                                      <p:cBhvr>
                                        <p:cTn id="100" dur="1" fill="hold">
                                          <p:stCondLst>
                                            <p:cond delay="0"/>
                                          </p:stCondLst>
                                        </p:cTn>
                                        <p:tgtEl>
                                          <p:spTgt spid="120"/>
                                        </p:tgtEl>
                                        <p:attrNameLst>
                                          <p:attrName>style.visibility</p:attrName>
                                        </p:attrNameLst>
                                      </p:cBhvr>
                                      <p:to>
                                        <p:strVal val="visible"/>
                                      </p:to>
                                    </p:set>
                                    <p:animEffect transition="in" filter="fade">
                                      <p:cBhvr>
                                        <p:cTn id="101" dur="500"/>
                                        <p:tgtEl>
                                          <p:spTgt spid="120"/>
                                        </p:tgtEl>
                                      </p:cBhvr>
                                    </p:animEffect>
                                  </p:childTnLst>
                                </p:cTn>
                              </p:par>
                              <p:par>
                                <p:cTn id="102" presetID="10" presetClass="entr" presetSubtype="0" fill="hold" nodeType="withEffect">
                                  <p:stCondLst>
                                    <p:cond delay="0"/>
                                  </p:stCondLst>
                                  <p:childTnLst>
                                    <p:set>
                                      <p:cBhvr>
                                        <p:cTn id="103" dur="1" fill="hold">
                                          <p:stCondLst>
                                            <p:cond delay="0"/>
                                          </p:stCondLst>
                                        </p:cTn>
                                        <p:tgtEl>
                                          <p:spTgt spid="60"/>
                                        </p:tgtEl>
                                        <p:attrNameLst>
                                          <p:attrName>style.visibility</p:attrName>
                                        </p:attrNameLst>
                                      </p:cBhvr>
                                      <p:to>
                                        <p:strVal val="visible"/>
                                      </p:to>
                                    </p:set>
                                    <p:animEffect transition="in" filter="fade">
                                      <p:cBhvr>
                                        <p:cTn id="104" dur="500"/>
                                        <p:tgtEl>
                                          <p:spTgt spid="60"/>
                                        </p:tgtEl>
                                      </p:cBhvr>
                                    </p:animEffect>
                                  </p:childTnLst>
                                </p:cTn>
                              </p:par>
                            </p:childTnLst>
                          </p:cTn>
                        </p:par>
                      </p:childTnLst>
                    </p:cTn>
                  </p:par>
                  <p:par>
                    <p:cTn id="105" fill="hold">
                      <p:stCondLst>
                        <p:cond delay="indefinite"/>
                      </p:stCondLst>
                      <p:childTnLst>
                        <p:par>
                          <p:cTn id="106" fill="hold">
                            <p:stCondLst>
                              <p:cond delay="0"/>
                            </p:stCondLst>
                            <p:childTnLst>
                              <p:par>
                                <p:cTn id="107" presetID="10" presetClass="entr" presetSubtype="0" fill="hold" grpId="0" nodeType="clickEffect">
                                  <p:stCondLst>
                                    <p:cond delay="0"/>
                                  </p:stCondLst>
                                  <p:childTnLst>
                                    <p:set>
                                      <p:cBhvr>
                                        <p:cTn id="108" dur="1" fill="hold">
                                          <p:stCondLst>
                                            <p:cond delay="0"/>
                                          </p:stCondLst>
                                        </p:cTn>
                                        <p:tgtEl>
                                          <p:spTgt spid="27"/>
                                        </p:tgtEl>
                                        <p:attrNameLst>
                                          <p:attrName>style.visibility</p:attrName>
                                        </p:attrNameLst>
                                      </p:cBhvr>
                                      <p:to>
                                        <p:strVal val="visible"/>
                                      </p:to>
                                    </p:set>
                                    <p:animEffect transition="in" filter="fade">
                                      <p:cBhvr>
                                        <p:cTn id="109" dur="500"/>
                                        <p:tgtEl>
                                          <p:spTgt spid="27"/>
                                        </p:tgtEl>
                                      </p:cBhvr>
                                    </p:animEffect>
                                  </p:childTnLst>
                                </p:cTn>
                              </p:par>
                              <p:par>
                                <p:cTn id="110" presetID="10" presetClass="entr" presetSubtype="0" fill="hold" grpId="0" nodeType="withEffect">
                                  <p:stCondLst>
                                    <p:cond delay="0"/>
                                  </p:stCondLst>
                                  <p:childTnLst>
                                    <p:set>
                                      <p:cBhvr>
                                        <p:cTn id="111" dur="1" fill="hold">
                                          <p:stCondLst>
                                            <p:cond delay="0"/>
                                          </p:stCondLst>
                                        </p:cTn>
                                        <p:tgtEl>
                                          <p:spTgt spid="112"/>
                                        </p:tgtEl>
                                        <p:attrNameLst>
                                          <p:attrName>style.visibility</p:attrName>
                                        </p:attrNameLst>
                                      </p:cBhvr>
                                      <p:to>
                                        <p:strVal val="visible"/>
                                      </p:to>
                                    </p:set>
                                    <p:animEffect transition="in" filter="fade">
                                      <p:cBhvr>
                                        <p:cTn id="112" dur="500"/>
                                        <p:tgtEl>
                                          <p:spTgt spid="112"/>
                                        </p:tgtEl>
                                      </p:cBhvr>
                                    </p:animEffect>
                                  </p:childTnLst>
                                </p:cTn>
                              </p:par>
                              <p:par>
                                <p:cTn id="113" presetID="10" presetClass="entr" presetSubtype="0" fill="hold" grpId="0" nodeType="withEffect">
                                  <p:stCondLst>
                                    <p:cond delay="0"/>
                                  </p:stCondLst>
                                  <p:childTnLst>
                                    <p:set>
                                      <p:cBhvr>
                                        <p:cTn id="114" dur="1" fill="hold">
                                          <p:stCondLst>
                                            <p:cond delay="0"/>
                                          </p:stCondLst>
                                        </p:cTn>
                                        <p:tgtEl>
                                          <p:spTgt spid="28"/>
                                        </p:tgtEl>
                                        <p:attrNameLst>
                                          <p:attrName>style.visibility</p:attrName>
                                        </p:attrNameLst>
                                      </p:cBhvr>
                                      <p:to>
                                        <p:strVal val="visible"/>
                                      </p:to>
                                    </p:set>
                                    <p:animEffect transition="in" filter="fade">
                                      <p:cBhvr>
                                        <p:cTn id="115" dur="500"/>
                                        <p:tgtEl>
                                          <p:spTgt spid="28"/>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110"/>
                                        </p:tgtEl>
                                        <p:attrNameLst>
                                          <p:attrName>style.visibility</p:attrName>
                                        </p:attrNameLst>
                                      </p:cBhvr>
                                      <p:to>
                                        <p:strVal val="visible"/>
                                      </p:to>
                                    </p:set>
                                    <p:animEffect transition="in" filter="fade">
                                      <p:cBhvr>
                                        <p:cTn id="118" dur="500"/>
                                        <p:tgtEl>
                                          <p:spTgt spid="110"/>
                                        </p:tgtEl>
                                      </p:cBhvr>
                                    </p:animEffect>
                                  </p:childTnLst>
                                </p:cTn>
                              </p:par>
                              <p:par>
                                <p:cTn id="119" presetID="10" presetClass="entr" presetSubtype="0" fill="hold" nodeType="withEffect">
                                  <p:stCondLst>
                                    <p:cond delay="0"/>
                                  </p:stCondLst>
                                  <p:childTnLst>
                                    <p:set>
                                      <p:cBhvr>
                                        <p:cTn id="120" dur="1" fill="hold">
                                          <p:stCondLst>
                                            <p:cond delay="0"/>
                                          </p:stCondLst>
                                        </p:cTn>
                                        <p:tgtEl>
                                          <p:spTgt spid="61"/>
                                        </p:tgtEl>
                                        <p:attrNameLst>
                                          <p:attrName>style.visibility</p:attrName>
                                        </p:attrNameLst>
                                      </p:cBhvr>
                                      <p:to>
                                        <p:strVal val="visible"/>
                                      </p:to>
                                    </p:set>
                                    <p:animEffect transition="in" filter="fade">
                                      <p:cBhvr>
                                        <p:cTn id="121" dur="500"/>
                                        <p:tgtEl>
                                          <p:spTgt spid="61"/>
                                        </p:tgtEl>
                                      </p:cBhvr>
                                    </p:animEffect>
                                  </p:childTnLst>
                                </p:cTn>
                              </p:par>
                            </p:childTnLst>
                          </p:cTn>
                        </p:par>
                      </p:childTnLst>
                    </p:cTn>
                  </p:par>
                  <p:par>
                    <p:cTn id="122" fill="hold">
                      <p:stCondLst>
                        <p:cond delay="indefinite"/>
                      </p:stCondLst>
                      <p:childTnLst>
                        <p:par>
                          <p:cTn id="123" fill="hold">
                            <p:stCondLst>
                              <p:cond delay="0"/>
                            </p:stCondLst>
                            <p:childTnLst>
                              <p:par>
                                <p:cTn id="124" presetID="10" presetClass="entr" presetSubtype="0" fill="hold" grpId="0" nodeType="clickEffect">
                                  <p:stCondLst>
                                    <p:cond delay="0"/>
                                  </p:stCondLst>
                                  <p:childTnLst>
                                    <p:set>
                                      <p:cBhvr>
                                        <p:cTn id="125" dur="1" fill="hold">
                                          <p:stCondLst>
                                            <p:cond delay="0"/>
                                          </p:stCondLst>
                                        </p:cTn>
                                        <p:tgtEl>
                                          <p:spTgt spid="29"/>
                                        </p:tgtEl>
                                        <p:attrNameLst>
                                          <p:attrName>style.visibility</p:attrName>
                                        </p:attrNameLst>
                                      </p:cBhvr>
                                      <p:to>
                                        <p:strVal val="visible"/>
                                      </p:to>
                                    </p:set>
                                    <p:animEffect transition="in" filter="fade">
                                      <p:cBhvr>
                                        <p:cTn id="126" dur="500"/>
                                        <p:tgtEl>
                                          <p:spTgt spid="29"/>
                                        </p:tgtEl>
                                      </p:cBhvr>
                                    </p:animEffect>
                                  </p:childTnLst>
                                </p:cTn>
                              </p:par>
                              <p:par>
                                <p:cTn id="127" presetID="10" presetClass="entr" presetSubtype="0" fill="hold" nodeType="withEffect">
                                  <p:stCondLst>
                                    <p:cond delay="0"/>
                                  </p:stCondLst>
                                  <p:childTnLst>
                                    <p:set>
                                      <p:cBhvr>
                                        <p:cTn id="128" dur="1" fill="hold">
                                          <p:stCondLst>
                                            <p:cond delay="0"/>
                                          </p:stCondLst>
                                        </p:cTn>
                                        <p:tgtEl>
                                          <p:spTgt spid="52"/>
                                        </p:tgtEl>
                                        <p:attrNameLst>
                                          <p:attrName>style.visibility</p:attrName>
                                        </p:attrNameLst>
                                      </p:cBhvr>
                                      <p:to>
                                        <p:strVal val="visible"/>
                                      </p:to>
                                    </p:set>
                                    <p:animEffect transition="in" filter="fade">
                                      <p:cBhvr>
                                        <p:cTn id="129"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5" grpId="0" animBg="1"/>
      <p:bldP spid="27" grpId="0" animBg="1"/>
      <p:bldP spid="12" grpId="0" animBg="1"/>
      <p:bldP spid="13" grpId="0" animBg="1"/>
      <p:bldP spid="14" grpId="0" animBg="1"/>
      <p:bldP spid="15" grpId="0" animBg="1"/>
      <p:bldP spid="16" grpId="0" animBg="1"/>
      <p:bldP spid="17" grpId="0" animBg="1"/>
      <p:bldP spid="28" grpId="0" animBg="1"/>
      <p:bldP spid="29" grpId="0" animBg="1"/>
      <p:bldP spid="98" grpId="0" animBg="1"/>
      <p:bldP spid="110" grpId="0" animBg="1"/>
      <p:bldP spid="112" grpId="0" animBg="1"/>
      <p:bldP spid="26" grpId="0" animBg="1"/>
      <p:bldP spid="118"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IoT SDKs</a:t>
            </a:r>
          </a:p>
        </p:txBody>
      </p:sp>
      <p:sp>
        <p:nvSpPr>
          <p:cNvPr id="4" name="Text Placeholder 3"/>
          <p:cNvSpPr>
            <a:spLocks noGrp="1"/>
          </p:cNvSpPr>
          <p:nvPr>
            <p:ph type="body" sz="quarter" idx="10"/>
          </p:nvPr>
        </p:nvSpPr>
        <p:spPr>
          <a:xfrm>
            <a:off x="466367" y="1489959"/>
            <a:ext cx="5763944" cy="5321200"/>
          </a:xfrm>
        </p:spPr>
        <p:txBody>
          <a:bodyPr/>
          <a:lstStyle/>
          <a:p>
            <a:r>
              <a:rPr lang="en-US" dirty="0"/>
              <a:t>Device-facing</a:t>
            </a:r>
          </a:p>
          <a:p>
            <a:pPr lvl="1"/>
            <a:r>
              <a:rPr lang="en-US" dirty="0"/>
              <a:t>For devices and field gateway</a:t>
            </a:r>
          </a:p>
          <a:p>
            <a:r>
              <a:rPr lang="en-US" sz="3200" dirty="0"/>
              <a:t>Platforms</a:t>
            </a:r>
          </a:p>
          <a:p>
            <a:pPr lvl="1"/>
            <a:r>
              <a:rPr lang="en-US" dirty="0"/>
              <a:t>RTOS (</a:t>
            </a:r>
            <a:r>
              <a:rPr lang="en-US" dirty="0" err="1"/>
              <a:t>FreeRTOS</a:t>
            </a:r>
            <a:r>
              <a:rPr lang="en-US" dirty="0"/>
              <a:t>)</a:t>
            </a:r>
          </a:p>
          <a:p>
            <a:pPr lvl="1"/>
            <a:r>
              <a:rPr lang="en-US" dirty="0"/>
              <a:t>Linux</a:t>
            </a:r>
            <a:br>
              <a:rPr lang="en-US" dirty="0"/>
            </a:br>
            <a:r>
              <a:rPr lang="en-US" dirty="0"/>
              <a:t>(Ubuntu, </a:t>
            </a:r>
            <a:r>
              <a:rPr lang="en-US" dirty="0" err="1"/>
              <a:t>Debian</a:t>
            </a:r>
            <a:r>
              <a:rPr lang="en-US" dirty="0"/>
              <a:t>, Fedora, </a:t>
            </a:r>
            <a:r>
              <a:rPr lang="en-US" dirty="0" err="1"/>
              <a:t>Raspbian</a:t>
            </a:r>
            <a:r>
              <a:rPr lang="en-US" dirty="0"/>
              <a:t>, Angstrom)</a:t>
            </a:r>
          </a:p>
          <a:p>
            <a:pPr lvl="1"/>
            <a:r>
              <a:rPr lang="en-US" dirty="0"/>
              <a:t>Windows 7/8/10</a:t>
            </a:r>
          </a:p>
          <a:p>
            <a:pPr lvl="1"/>
            <a:r>
              <a:rPr lang="en-US" dirty="0"/>
              <a:t>ARM </a:t>
            </a:r>
            <a:r>
              <a:rPr lang="en-US" dirty="0" err="1"/>
              <a:t>mbed</a:t>
            </a:r>
            <a:endParaRPr lang="en-US" dirty="0"/>
          </a:p>
          <a:p>
            <a:pPr lvl="1"/>
            <a:r>
              <a:rPr lang="en-US" dirty="0"/>
              <a:t>Android</a:t>
            </a:r>
          </a:p>
          <a:p>
            <a:r>
              <a:rPr lang="en-US" sz="3200" dirty="0"/>
              <a:t>Languages</a:t>
            </a:r>
          </a:p>
          <a:p>
            <a:pPr lvl="1"/>
            <a:r>
              <a:rPr lang="en-US" dirty="0"/>
              <a:t>C/C++, Java, C#, JavaScript, Python</a:t>
            </a:r>
          </a:p>
        </p:txBody>
      </p:sp>
      <p:sp>
        <p:nvSpPr>
          <p:cNvPr id="5" name="Text Placeholder 4"/>
          <p:cNvSpPr>
            <a:spLocks noGrp="1"/>
          </p:cNvSpPr>
          <p:nvPr>
            <p:ph type="body" sz="quarter" idx="11"/>
          </p:nvPr>
        </p:nvSpPr>
        <p:spPr>
          <a:xfrm>
            <a:off x="6794334" y="1489959"/>
            <a:ext cx="5641755" cy="3110852"/>
          </a:xfrm>
        </p:spPr>
        <p:txBody>
          <a:bodyPr/>
          <a:lstStyle/>
          <a:p>
            <a:r>
              <a:rPr lang="en-US" dirty="0"/>
              <a:t>Service-facing</a:t>
            </a:r>
          </a:p>
          <a:p>
            <a:pPr lvl="1"/>
            <a:r>
              <a:rPr lang="en-US" dirty="0"/>
              <a:t>For back-ends and cloud gateway</a:t>
            </a:r>
          </a:p>
          <a:p>
            <a:r>
              <a:rPr lang="en-US" sz="3200" dirty="0"/>
              <a:t>Languages</a:t>
            </a:r>
            <a:endParaRPr lang="en-US" dirty="0"/>
          </a:p>
          <a:p>
            <a:pPr lvl="1"/>
            <a:r>
              <a:rPr lang="en-US" dirty="0"/>
              <a:t>.NET C#</a:t>
            </a:r>
          </a:p>
          <a:p>
            <a:pPr lvl="1"/>
            <a:r>
              <a:rPr lang="en-US" dirty="0"/>
              <a:t>Java</a:t>
            </a:r>
          </a:p>
          <a:p>
            <a:pPr lvl="1"/>
            <a:r>
              <a:rPr lang="en-US" dirty="0"/>
              <a:t>Node</a:t>
            </a:r>
          </a:p>
        </p:txBody>
      </p:sp>
    </p:spTree>
    <p:extLst>
      <p:ext uri="{BB962C8B-B14F-4D97-AF65-F5344CB8AC3E}">
        <p14:creationId xmlns:p14="http://schemas.microsoft.com/office/powerpoint/2010/main" val="13454200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xEl>
                                              <p:pRg st="1" end="1"/>
                                            </p:txEl>
                                          </p:spTgt>
                                        </p:tgtEl>
                                        <p:attrNameLst>
                                          <p:attrName>style.visibility</p:attrName>
                                        </p:attrNameLst>
                                      </p:cBhvr>
                                      <p:to>
                                        <p:strVal val="visible"/>
                                      </p:to>
                                    </p:set>
                                    <p:animEffect transition="in" filter="fade">
                                      <p:cBhvr>
                                        <p:cTn id="10" dur="500"/>
                                        <p:tgtEl>
                                          <p:spTgt spid="5">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Effect transition="in" filter="fade">
                                      <p:cBhvr>
                                        <p:cTn id="15" dur="500"/>
                                        <p:tgtEl>
                                          <p:spTgt spid="5">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
                                            <p:txEl>
                                              <p:pRg st="3" end="3"/>
                                            </p:txEl>
                                          </p:spTgt>
                                        </p:tgtEl>
                                        <p:attrNameLst>
                                          <p:attrName>style.visibility</p:attrName>
                                        </p:attrNameLst>
                                      </p:cBhvr>
                                      <p:to>
                                        <p:strVal val="visible"/>
                                      </p:to>
                                    </p:set>
                                    <p:animEffect transition="in" filter="fade">
                                      <p:cBhvr>
                                        <p:cTn id="18" dur="500"/>
                                        <p:tgtEl>
                                          <p:spTgt spid="5">
                                            <p:txEl>
                                              <p:pRg st="3" end="3"/>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5">
                                            <p:txEl>
                                              <p:pRg st="4" end="4"/>
                                            </p:txEl>
                                          </p:spTgt>
                                        </p:tgtEl>
                                        <p:attrNameLst>
                                          <p:attrName>style.visibility</p:attrName>
                                        </p:attrNameLst>
                                      </p:cBhvr>
                                      <p:to>
                                        <p:strVal val="visible"/>
                                      </p:to>
                                    </p:set>
                                    <p:animEffect transition="in" filter="fade">
                                      <p:cBhvr>
                                        <p:cTn id="21" dur="500"/>
                                        <p:tgtEl>
                                          <p:spTgt spid="5">
                                            <p:txEl>
                                              <p:pRg st="4" end="4"/>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
                                            <p:txEl>
                                              <p:pRg st="5" end="5"/>
                                            </p:txEl>
                                          </p:spTgt>
                                        </p:tgtEl>
                                        <p:attrNameLst>
                                          <p:attrName>style.visibility</p:attrName>
                                        </p:attrNameLst>
                                      </p:cBhvr>
                                      <p:to>
                                        <p:strVal val="visible"/>
                                      </p:to>
                                    </p:set>
                                    <p:animEffect transition="in" filter="fade">
                                      <p:cBhvr>
                                        <p:cTn id="24"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Elements of Azure IoT Suite </a:t>
            </a:r>
          </a:p>
        </p:txBody>
      </p:sp>
      <p:grpSp>
        <p:nvGrpSpPr>
          <p:cNvPr id="45" name="Group 44">
            <a:extLst>
              <a:ext uri="{FF2B5EF4-FFF2-40B4-BE49-F238E27FC236}">
                <a16:creationId xmlns:a16="http://schemas.microsoft.com/office/drawing/2014/main" id="{E478FB29-E1DE-4420-B2C0-90156BF81B25}"/>
              </a:ext>
            </a:extLst>
          </p:cNvPr>
          <p:cNvGrpSpPr/>
          <p:nvPr/>
        </p:nvGrpSpPr>
        <p:grpSpPr>
          <a:xfrm>
            <a:off x="4110813" y="2916611"/>
            <a:ext cx="1941718" cy="2155768"/>
            <a:chOff x="4110813" y="2916611"/>
            <a:chExt cx="1941718" cy="2155768"/>
          </a:xfrm>
        </p:grpSpPr>
        <p:sp>
          <p:nvSpPr>
            <p:cNvPr id="47" name="Rektangel 13">
              <a:extLst>
                <a:ext uri="{FF2B5EF4-FFF2-40B4-BE49-F238E27FC236}">
                  <a16:creationId xmlns:a16="http://schemas.microsoft.com/office/drawing/2014/main" id="{49886F72-3C7D-4EEA-91A5-7B5AA644A5C9}"/>
                </a:ext>
              </a:extLst>
            </p:cNvPr>
            <p:cNvSpPr/>
            <p:nvPr/>
          </p:nvSpPr>
          <p:spPr bwMode="auto">
            <a:xfrm>
              <a:off x="4110813" y="2916611"/>
              <a:ext cx="1941718" cy="2155768"/>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Transport</a:t>
              </a: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48" name="Likbent triangel 10">
              <a:extLst>
                <a:ext uri="{FF2B5EF4-FFF2-40B4-BE49-F238E27FC236}">
                  <a16:creationId xmlns:a16="http://schemas.microsoft.com/office/drawing/2014/main" id="{54E2E18E-5878-4E38-BA6B-291EE16E4227}"/>
                </a:ext>
              </a:extLst>
            </p:cNvPr>
            <p:cNvSpPr/>
            <p:nvPr/>
          </p:nvSpPr>
          <p:spPr bwMode="auto">
            <a:xfrm rot="5400000">
              <a:off x="4042234" y="3932978"/>
              <a:ext cx="399011" cy="261852"/>
            </a:xfrm>
            <a:prstGeom prst="triangle">
              <a:avLst/>
            </a:prstGeom>
            <a:solidFill>
              <a:schemeClr val="accent1">
                <a:lumMod val="75000"/>
              </a:scheme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49" name="Group 48">
            <a:extLst>
              <a:ext uri="{FF2B5EF4-FFF2-40B4-BE49-F238E27FC236}">
                <a16:creationId xmlns:a16="http://schemas.microsoft.com/office/drawing/2014/main" id="{E99A614D-8DF7-416E-BE3E-7DE242484DE8}"/>
              </a:ext>
            </a:extLst>
          </p:cNvPr>
          <p:cNvGrpSpPr/>
          <p:nvPr/>
        </p:nvGrpSpPr>
        <p:grpSpPr>
          <a:xfrm>
            <a:off x="10006619" y="2917302"/>
            <a:ext cx="2012374" cy="2149269"/>
            <a:chOff x="10006619" y="2917302"/>
            <a:chExt cx="2012374" cy="2149269"/>
          </a:xfrm>
          <a:solidFill>
            <a:srgbClr val="00183C"/>
          </a:solidFill>
        </p:grpSpPr>
        <p:sp>
          <p:nvSpPr>
            <p:cNvPr id="50" name="Rektangel 23">
              <a:extLst>
                <a:ext uri="{FF2B5EF4-FFF2-40B4-BE49-F238E27FC236}">
                  <a16:creationId xmlns:a16="http://schemas.microsoft.com/office/drawing/2014/main" id="{9D5BDDB4-A992-45DF-A8A0-4BFC0D41A98F}"/>
                </a:ext>
              </a:extLst>
            </p:cNvPr>
            <p:cNvSpPr/>
            <p:nvPr/>
          </p:nvSpPr>
          <p:spPr bwMode="auto">
            <a:xfrm>
              <a:off x="10006621" y="2917302"/>
              <a:ext cx="2012372" cy="720000"/>
            </a:xfrm>
            <a:prstGeom prst="rect">
              <a:avLst/>
            </a:prstGeom>
            <a:grp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REPORTS</a:t>
              </a:r>
            </a:p>
          </p:txBody>
        </p:sp>
        <p:sp>
          <p:nvSpPr>
            <p:cNvPr id="57" name="Rektangel 26">
              <a:extLst>
                <a:ext uri="{FF2B5EF4-FFF2-40B4-BE49-F238E27FC236}">
                  <a16:creationId xmlns:a16="http://schemas.microsoft.com/office/drawing/2014/main" id="{17B554B8-3CFC-4B0E-8F09-E7160C646051}"/>
                </a:ext>
              </a:extLst>
            </p:cNvPr>
            <p:cNvSpPr/>
            <p:nvPr/>
          </p:nvSpPr>
          <p:spPr bwMode="auto">
            <a:xfrm>
              <a:off x="10006621" y="3637912"/>
              <a:ext cx="2012372" cy="720000"/>
            </a:xfrm>
            <a:prstGeom prst="rect">
              <a:avLst/>
            </a:prstGeom>
            <a:grp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QL</a:t>
              </a:r>
              <a:r>
                <a:rPr lang="en-US" sz="2000" kern="0" dirty="0">
                  <a:gradFill>
                    <a:gsLst>
                      <a:gs pos="0">
                        <a:srgbClr val="FFFFFF"/>
                      </a:gs>
                      <a:gs pos="100000">
                        <a:srgbClr val="FFFFFF"/>
                      </a:gs>
                    </a:gsLst>
                    <a:lin ang="5400000" scaled="0"/>
                  </a:gradFill>
                  <a:latin typeface="Segoe UI Light"/>
                  <a:ea typeface="Segoe UI" pitchFamily="34" charset="0"/>
                  <a:cs typeface="Segoe UI" pitchFamily="34" charset="0"/>
                </a:rPr>
                <a:t> / NOSQL</a:t>
              </a: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58" name="Rektangel 27">
              <a:extLst>
                <a:ext uri="{FF2B5EF4-FFF2-40B4-BE49-F238E27FC236}">
                  <a16:creationId xmlns:a16="http://schemas.microsoft.com/office/drawing/2014/main" id="{32CE18C2-6142-4D7E-9227-0477785CAA35}"/>
                </a:ext>
              </a:extLst>
            </p:cNvPr>
            <p:cNvSpPr/>
            <p:nvPr/>
          </p:nvSpPr>
          <p:spPr bwMode="auto">
            <a:xfrm>
              <a:off x="10006621" y="4346571"/>
              <a:ext cx="2012372" cy="720000"/>
            </a:xfrm>
            <a:prstGeom prst="rect">
              <a:avLst/>
            </a:prstGeom>
            <a:grp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ERP / LOB</a:t>
              </a:r>
            </a:p>
          </p:txBody>
        </p:sp>
        <p:sp>
          <p:nvSpPr>
            <p:cNvPr id="63" name="Likbent triangel 28">
              <a:extLst>
                <a:ext uri="{FF2B5EF4-FFF2-40B4-BE49-F238E27FC236}">
                  <a16:creationId xmlns:a16="http://schemas.microsoft.com/office/drawing/2014/main" id="{2550D5DA-D078-4912-9818-CDC32B359736}"/>
                </a:ext>
              </a:extLst>
            </p:cNvPr>
            <p:cNvSpPr/>
            <p:nvPr/>
          </p:nvSpPr>
          <p:spPr bwMode="auto">
            <a:xfrm rot="5400000">
              <a:off x="9938041" y="3183955"/>
              <a:ext cx="399011" cy="261852"/>
            </a:xfrm>
            <a:prstGeom prst="triangle">
              <a:avLst/>
            </a:prstGeom>
            <a:grp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Likbent triangel 29">
              <a:extLst>
                <a:ext uri="{FF2B5EF4-FFF2-40B4-BE49-F238E27FC236}">
                  <a16:creationId xmlns:a16="http://schemas.microsoft.com/office/drawing/2014/main" id="{B2882268-AC92-49BC-B923-5CBE05A93809}"/>
                </a:ext>
              </a:extLst>
            </p:cNvPr>
            <p:cNvSpPr/>
            <p:nvPr/>
          </p:nvSpPr>
          <p:spPr bwMode="auto">
            <a:xfrm rot="5400000">
              <a:off x="9938040" y="3866986"/>
              <a:ext cx="399011" cy="261852"/>
            </a:xfrm>
            <a:prstGeom prst="triangle">
              <a:avLst/>
            </a:prstGeom>
            <a:grp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Likbent triangel 30">
              <a:extLst>
                <a:ext uri="{FF2B5EF4-FFF2-40B4-BE49-F238E27FC236}">
                  <a16:creationId xmlns:a16="http://schemas.microsoft.com/office/drawing/2014/main" id="{9BC2441A-D77C-484A-A90F-5C038C58CC60}"/>
                </a:ext>
              </a:extLst>
            </p:cNvPr>
            <p:cNvSpPr/>
            <p:nvPr/>
          </p:nvSpPr>
          <p:spPr bwMode="auto">
            <a:xfrm rot="5400000">
              <a:off x="9938039" y="4550017"/>
              <a:ext cx="399011" cy="261852"/>
            </a:xfrm>
            <a:prstGeom prst="triangle">
              <a:avLst/>
            </a:prstGeom>
            <a:grp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6" name="Rektangel 9">
            <a:extLst>
              <a:ext uri="{FF2B5EF4-FFF2-40B4-BE49-F238E27FC236}">
                <a16:creationId xmlns:a16="http://schemas.microsoft.com/office/drawing/2014/main" id="{100FF559-A57F-4805-B99F-522FA0411818}"/>
              </a:ext>
            </a:extLst>
          </p:cNvPr>
          <p:cNvSpPr/>
          <p:nvPr/>
        </p:nvSpPr>
        <p:spPr bwMode="auto">
          <a:xfrm>
            <a:off x="1750119" y="2914706"/>
            <a:ext cx="2360696" cy="2157673"/>
          </a:xfrm>
          <a:prstGeom prst="rect">
            <a:avLst/>
          </a:prstGeom>
          <a:solidFill>
            <a:schemeClr val="accent1">
              <a:lumMod val="75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ATEWAY/ DEVICE</a:t>
            </a:r>
          </a:p>
        </p:txBody>
      </p:sp>
      <p:sp>
        <p:nvSpPr>
          <p:cNvPr id="67" name="Rektangel 34">
            <a:extLst>
              <a:ext uri="{FF2B5EF4-FFF2-40B4-BE49-F238E27FC236}">
                <a16:creationId xmlns:a16="http://schemas.microsoft.com/office/drawing/2014/main" id="{95B18D59-130C-4BFE-8D2A-F89261DF8745}"/>
              </a:ext>
            </a:extLst>
          </p:cNvPr>
          <p:cNvSpPr/>
          <p:nvPr/>
        </p:nvSpPr>
        <p:spPr bwMode="auto">
          <a:xfrm>
            <a:off x="86072" y="2914707"/>
            <a:ext cx="1664046" cy="2159392"/>
          </a:xfrm>
          <a:prstGeom prst="rect">
            <a:avLst/>
          </a:prstGeom>
          <a:solidFill>
            <a:srgbClr val="00183C"/>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ensor</a:t>
            </a:r>
          </a:p>
          <a:p>
            <a:pPr marL="0" marR="0" lvl="0" indent="0" algn="ctr" defTabSz="932406" eaLnBrk="1" fontAlgn="auto" latinLnBrk="0" hangingPunct="1">
              <a:lnSpc>
                <a:spcPct val="100000"/>
              </a:lnSpc>
              <a:spcBef>
                <a:spcPts val="0"/>
              </a:spcBef>
              <a:spcAft>
                <a:spcPts val="0"/>
              </a:spcAft>
              <a:buClrTx/>
              <a:buSzTx/>
              <a:buFontTx/>
              <a:buNone/>
              <a:tabLst/>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Data</a:t>
            </a:r>
            <a:endPar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68" name="Group 67">
            <a:extLst>
              <a:ext uri="{FF2B5EF4-FFF2-40B4-BE49-F238E27FC236}">
                <a16:creationId xmlns:a16="http://schemas.microsoft.com/office/drawing/2014/main" id="{30B6BB13-276A-402A-9EEC-E6D504408325}"/>
              </a:ext>
            </a:extLst>
          </p:cNvPr>
          <p:cNvGrpSpPr/>
          <p:nvPr/>
        </p:nvGrpSpPr>
        <p:grpSpPr>
          <a:xfrm>
            <a:off x="8064895" y="2918331"/>
            <a:ext cx="1941721" cy="2155768"/>
            <a:chOff x="8064900" y="2914706"/>
            <a:chExt cx="1941721" cy="2155768"/>
          </a:xfrm>
          <a:solidFill>
            <a:srgbClr val="00183C"/>
          </a:solidFill>
        </p:grpSpPr>
        <p:sp>
          <p:nvSpPr>
            <p:cNvPr id="69" name="Rektangel 22">
              <a:extLst>
                <a:ext uri="{FF2B5EF4-FFF2-40B4-BE49-F238E27FC236}">
                  <a16:creationId xmlns:a16="http://schemas.microsoft.com/office/drawing/2014/main" id="{98FF4704-2608-47CD-931F-B8965325AF0D}"/>
                </a:ext>
              </a:extLst>
            </p:cNvPr>
            <p:cNvSpPr/>
            <p:nvPr/>
          </p:nvSpPr>
          <p:spPr bwMode="auto">
            <a:xfrm>
              <a:off x="8064903" y="2914706"/>
              <a:ext cx="1941718" cy="2155768"/>
            </a:xfrm>
            <a:prstGeom prst="rect">
              <a:avLst/>
            </a:prstGeom>
            <a:grp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lvl="0" algn="ctr" defTabSz="932406">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RULES &amp; ROUTING</a:t>
              </a:r>
              <a:endParaRPr lang="en-US" sz="8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2" name="Likbent triangel 18">
              <a:extLst>
                <a:ext uri="{FF2B5EF4-FFF2-40B4-BE49-F238E27FC236}">
                  <a16:creationId xmlns:a16="http://schemas.microsoft.com/office/drawing/2014/main" id="{79B5AABC-2835-4FB5-9357-D2A6C0A8C082}"/>
                </a:ext>
              </a:extLst>
            </p:cNvPr>
            <p:cNvSpPr/>
            <p:nvPr/>
          </p:nvSpPr>
          <p:spPr bwMode="auto">
            <a:xfrm rot="5400000">
              <a:off x="7996322" y="3326532"/>
              <a:ext cx="399011" cy="261852"/>
            </a:xfrm>
            <a:prstGeom prst="triangl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73" name="Likbent triangel 20">
              <a:extLst>
                <a:ext uri="{FF2B5EF4-FFF2-40B4-BE49-F238E27FC236}">
                  <a16:creationId xmlns:a16="http://schemas.microsoft.com/office/drawing/2014/main" id="{9C0B9D76-E9B2-4F99-8BA1-94BA93A264A9}"/>
                </a:ext>
              </a:extLst>
            </p:cNvPr>
            <p:cNvSpPr/>
            <p:nvPr/>
          </p:nvSpPr>
          <p:spPr bwMode="auto">
            <a:xfrm rot="5400000">
              <a:off x="7996320" y="4396796"/>
              <a:ext cx="399011" cy="261852"/>
            </a:xfrm>
            <a:prstGeom prst="triangl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74" name="Group 73">
            <a:extLst>
              <a:ext uri="{FF2B5EF4-FFF2-40B4-BE49-F238E27FC236}">
                <a16:creationId xmlns:a16="http://schemas.microsoft.com/office/drawing/2014/main" id="{43CE634B-1CBD-435F-871E-D90771E404E6}"/>
              </a:ext>
            </a:extLst>
          </p:cNvPr>
          <p:cNvGrpSpPr/>
          <p:nvPr/>
        </p:nvGrpSpPr>
        <p:grpSpPr>
          <a:xfrm>
            <a:off x="6052527" y="2918841"/>
            <a:ext cx="2012372" cy="1085505"/>
            <a:chOff x="6052531" y="2916610"/>
            <a:chExt cx="2012372" cy="1085505"/>
          </a:xfrm>
        </p:grpSpPr>
        <p:sp>
          <p:nvSpPr>
            <p:cNvPr id="75" name="Rektangel 17">
              <a:extLst>
                <a:ext uri="{FF2B5EF4-FFF2-40B4-BE49-F238E27FC236}">
                  <a16:creationId xmlns:a16="http://schemas.microsoft.com/office/drawing/2014/main" id="{6CE1AEFC-8AD0-4137-A16A-B45FBA731716}"/>
                </a:ext>
              </a:extLst>
            </p:cNvPr>
            <p:cNvSpPr/>
            <p:nvPr/>
          </p:nvSpPr>
          <p:spPr bwMode="auto">
            <a:xfrm>
              <a:off x="6052531" y="2916610"/>
              <a:ext cx="2012372" cy="1085505"/>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ECURITY</a:t>
              </a:r>
            </a:p>
          </p:txBody>
        </p:sp>
        <p:sp>
          <p:nvSpPr>
            <p:cNvPr id="76" name="Likbent triangel 14">
              <a:extLst>
                <a:ext uri="{FF2B5EF4-FFF2-40B4-BE49-F238E27FC236}">
                  <a16:creationId xmlns:a16="http://schemas.microsoft.com/office/drawing/2014/main" id="{983FFBFF-4E7E-45BA-AC5A-EEC95B4A1E14}"/>
                </a:ext>
              </a:extLst>
            </p:cNvPr>
            <p:cNvSpPr/>
            <p:nvPr/>
          </p:nvSpPr>
          <p:spPr bwMode="auto">
            <a:xfrm rot="5400000">
              <a:off x="5983951" y="3387319"/>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77" name="Group 76">
            <a:extLst>
              <a:ext uri="{FF2B5EF4-FFF2-40B4-BE49-F238E27FC236}">
                <a16:creationId xmlns:a16="http://schemas.microsoft.com/office/drawing/2014/main" id="{8AA7EF51-0E2A-4B6D-AD0D-C5F11540CD58}"/>
              </a:ext>
            </a:extLst>
          </p:cNvPr>
          <p:cNvGrpSpPr/>
          <p:nvPr/>
        </p:nvGrpSpPr>
        <p:grpSpPr>
          <a:xfrm>
            <a:off x="6052929" y="4002425"/>
            <a:ext cx="2012372" cy="1070264"/>
            <a:chOff x="6233504" y="5927004"/>
            <a:chExt cx="2012372" cy="1070264"/>
          </a:xfrm>
          <a:solidFill>
            <a:srgbClr val="00188F"/>
          </a:solidFill>
        </p:grpSpPr>
        <p:sp>
          <p:nvSpPr>
            <p:cNvPr id="78" name="Rektangel 19">
              <a:extLst>
                <a:ext uri="{FF2B5EF4-FFF2-40B4-BE49-F238E27FC236}">
                  <a16:creationId xmlns:a16="http://schemas.microsoft.com/office/drawing/2014/main" id="{77557929-2AAD-45F3-8A95-B6A899E36022}"/>
                </a:ext>
              </a:extLst>
            </p:cNvPr>
            <p:cNvSpPr/>
            <p:nvPr/>
          </p:nvSpPr>
          <p:spPr bwMode="auto">
            <a:xfrm>
              <a:off x="6233504" y="5927004"/>
              <a:ext cx="2012372" cy="1070264"/>
            </a:xfrm>
            <a:prstGeom prst="rect">
              <a:avLst/>
            </a:prstGeom>
            <a:grp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DEVICE MGMT</a:t>
              </a:r>
            </a:p>
          </p:txBody>
        </p:sp>
        <p:sp>
          <p:nvSpPr>
            <p:cNvPr id="79" name="Likbent triangel 21">
              <a:extLst>
                <a:ext uri="{FF2B5EF4-FFF2-40B4-BE49-F238E27FC236}">
                  <a16:creationId xmlns:a16="http://schemas.microsoft.com/office/drawing/2014/main" id="{0780B8D5-3B51-4DBF-9A92-3ACEA8F19C85}"/>
                </a:ext>
              </a:extLst>
            </p:cNvPr>
            <p:cNvSpPr/>
            <p:nvPr/>
          </p:nvSpPr>
          <p:spPr bwMode="auto">
            <a:xfrm rot="5400000">
              <a:off x="6164926" y="6331210"/>
              <a:ext cx="399011" cy="261852"/>
            </a:xfrm>
            <a:prstGeom prst="triangle">
              <a:avLst/>
            </a:prstGeom>
            <a:grp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3" name="Group 82">
            <a:extLst>
              <a:ext uri="{FF2B5EF4-FFF2-40B4-BE49-F238E27FC236}">
                <a16:creationId xmlns:a16="http://schemas.microsoft.com/office/drawing/2014/main" id="{CA3BDC7B-E1E1-4C76-8EB6-4C28DB8C541A}"/>
              </a:ext>
            </a:extLst>
          </p:cNvPr>
          <p:cNvGrpSpPr/>
          <p:nvPr/>
        </p:nvGrpSpPr>
        <p:grpSpPr>
          <a:xfrm>
            <a:off x="3297201" y="4499349"/>
            <a:ext cx="813611" cy="544765"/>
            <a:chOff x="3297201" y="4499349"/>
            <a:chExt cx="813611" cy="544765"/>
          </a:xfrm>
        </p:grpSpPr>
        <p:sp>
          <p:nvSpPr>
            <p:cNvPr id="84" name="Rektangel 36">
              <a:extLst>
                <a:ext uri="{FF2B5EF4-FFF2-40B4-BE49-F238E27FC236}">
                  <a16:creationId xmlns:a16="http://schemas.microsoft.com/office/drawing/2014/main" id="{D04A9CAC-DD01-404E-80E9-3C0718CEA1DB}"/>
                </a:ext>
              </a:extLst>
            </p:cNvPr>
            <p:cNvSpPr/>
            <p:nvPr/>
          </p:nvSpPr>
          <p:spPr bwMode="auto">
            <a:xfrm>
              <a:off x="3297203" y="4559372"/>
              <a:ext cx="813609" cy="409922"/>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85" name="textruta 37">
              <a:extLst>
                <a:ext uri="{FF2B5EF4-FFF2-40B4-BE49-F238E27FC236}">
                  <a16:creationId xmlns:a16="http://schemas.microsoft.com/office/drawing/2014/main" id="{5C6E8AFA-3377-4113-9404-E6894B460D35}"/>
                </a:ext>
              </a:extLst>
            </p:cNvPr>
            <p:cNvSpPr txBox="1"/>
            <p:nvPr/>
          </p:nvSpPr>
          <p:spPr>
            <a:xfrm>
              <a:off x="3297201" y="4499349"/>
              <a:ext cx="813607"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SDK</a:t>
              </a:r>
            </a:p>
          </p:txBody>
        </p:sp>
      </p:grpSp>
      <p:sp>
        <p:nvSpPr>
          <p:cNvPr id="86" name="Likbent triangel 10">
            <a:extLst>
              <a:ext uri="{FF2B5EF4-FFF2-40B4-BE49-F238E27FC236}">
                <a16:creationId xmlns:a16="http://schemas.microsoft.com/office/drawing/2014/main" id="{B12BDBD8-547B-4107-9ACF-66DB31C90001}"/>
              </a:ext>
            </a:extLst>
          </p:cNvPr>
          <p:cNvSpPr/>
          <p:nvPr/>
        </p:nvSpPr>
        <p:spPr bwMode="auto">
          <a:xfrm rot="5400000">
            <a:off x="1685524" y="3895988"/>
            <a:ext cx="399011" cy="261852"/>
          </a:xfrm>
          <a:prstGeom prst="triangle">
            <a:avLst/>
          </a:prstGeom>
          <a:solidFill>
            <a:srgbClr val="00183C"/>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grpSp>
        <p:nvGrpSpPr>
          <p:cNvPr id="6" name="Group 5">
            <a:extLst>
              <a:ext uri="{FF2B5EF4-FFF2-40B4-BE49-F238E27FC236}">
                <a16:creationId xmlns:a16="http://schemas.microsoft.com/office/drawing/2014/main" id="{744A0533-9F88-456A-B185-0F3F683B92B7}"/>
              </a:ext>
            </a:extLst>
          </p:cNvPr>
          <p:cNvGrpSpPr/>
          <p:nvPr/>
        </p:nvGrpSpPr>
        <p:grpSpPr>
          <a:xfrm>
            <a:off x="3428732" y="1851360"/>
            <a:ext cx="4636161" cy="977677"/>
            <a:chOff x="3428732" y="1851360"/>
            <a:chExt cx="4636161" cy="977677"/>
          </a:xfrm>
        </p:grpSpPr>
        <p:sp>
          <p:nvSpPr>
            <p:cNvPr id="4" name="Right Brace 3">
              <a:extLst>
                <a:ext uri="{FF2B5EF4-FFF2-40B4-BE49-F238E27FC236}">
                  <a16:creationId xmlns:a16="http://schemas.microsoft.com/office/drawing/2014/main" id="{AE33621E-F0F0-4F8E-8E03-CC78F67895E0}"/>
                </a:ext>
              </a:extLst>
            </p:cNvPr>
            <p:cNvSpPr/>
            <p:nvPr/>
          </p:nvSpPr>
          <p:spPr>
            <a:xfrm rot="16200000">
              <a:off x="5601071" y="365214"/>
              <a:ext cx="291484" cy="4636161"/>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sp>
          <p:nvSpPr>
            <p:cNvPr id="5" name="TextBox 4">
              <a:extLst>
                <a:ext uri="{FF2B5EF4-FFF2-40B4-BE49-F238E27FC236}">
                  <a16:creationId xmlns:a16="http://schemas.microsoft.com/office/drawing/2014/main" id="{CB60471D-78A2-4108-B51E-A8DB8F004D31}"/>
                </a:ext>
              </a:extLst>
            </p:cNvPr>
            <p:cNvSpPr txBox="1"/>
            <p:nvPr/>
          </p:nvSpPr>
          <p:spPr>
            <a:xfrm>
              <a:off x="4510132" y="1851360"/>
              <a:ext cx="247330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AZURE IoT </a:t>
              </a:r>
              <a:r>
                <a:rPr lang="sv-SE" sz="2400" dirty="0" err="1">
                  <a:gradFill>
                    <a:gsLst>
                      <a:gs pos="2917">
                        <a:schemeClr val="tx1"/>
                      </a:gs>
                      <a:gs pos="30000">
                        <a:schemeClr val="tx1"/>
                      </a:gs>
                    </a:gsLst>
                    <a:lin ang="5400000" scaled="0"/>
                  </a:gradFill>
                </a:rPr>
                <a:t>Hub</a:t>
              </a:r>
              <a:endParaRPr lang="sv-SE" sz="2400" dirty="0">
                <a:gradFill>
                  <a:gsLst>
                    <a:gs pos="2917">
                      <a:schemeClr val="tx1"/>
                    </a:gs>
                    <a:gs pos="30000">
                      <a:schemeClr val="tx1"/>
                    </a:gs>
                  </a:gsLst>
                  <a:lin ang="5400000" scaled="0"/>
                </a:gradFill>
              </a:endParaRPr>
            </a:p>
          </p:txBody>
        </p:sp>
      </p:grpSp>
      <p:grpSp>
        <p:nvGrpSpPr>
          <p:cNvPr id="7" name="Group 6">
            <a:extLst>
              <a:ext uri="{FF2B5EF4-FFF2-40B4-BE49-F238E27FC236}">
                <a16:creationId xmlns:a16="http://schemas.microsoft.com/office/drawing/2014/main" id="{DCB1D402-6C8A-436B-BA4A-08AA4F42010D}"/>
              </a:ext>
            </a:extLst>
          </p:cNvPr>
          <p:cNvGrpSpPr/>
          <p:nvPr/>
        </p:nvGrpSpPr>
        <p:grpSpPr>
          <a:xfrm>
            <a:off x="3319416" y="5400313"/>
            <a:ext cx="8699578" cy="878202"/>
            <a:chOff x="3319416" y="5400313"/>
            <a:chExt cx="8699578" cy="878202"/>
          </a:xfrm>
        </p:grpSpPr>
        <p:sp>
          <p:nvSpPr>
            <p:cNvPr id="90" name="Right Brace 89">
              <a:extLst>
                <a:ext uri="{FF2B5EF4-FFF2-40B4-BE49-F238E27FC236}">
                  <a16:creationId xmlns:a16="http://schemas.microsoft.com/office/drawing/2014/main" id="{2752F0F2-87EE-4ED5-B147-3E44325389A7}"/>
                </a:ext>
              </a:extLst>
            </p:cNvPr>
            <p:cNvSpPr/>
            <p:nvPr/>
          </p:nvSpPr>
          <p:spPr>
            <a:xfrm rot="5400000">
              <a:off x="7523463" y="1196266"/>
              <a:ext cx="291484" cy="8699578"/>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sp>
          <p:nvSpPr>
            <p:cNvPr id="91" name="TextBox 90">
              <a:extLst>
                <a:ext uri="{FF2B5EF4-FFF2-40B4-BE49-F238E27FC236}">
                  <a16:creationId xmlns:a16="http://schemas.microsoft.com/office/drawing/2014/main" id="{6F6EA082-2E1C-4CA8-8177-AC1A00735236}"/>
                </a:ext>
              </a:extLst>
            </p:cNvPr>
            <p:cNvSpPr txBox="1"/>
            <p:nvPr/>
          </p:nvSpPr>
          <p:spPr>
            <a:xfrm>
              <a:off x="6432552" y="5650651"/>
              <a:ext cx="2575064"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AZURE IoT </a:t>
              </a:r>
              <a:r>
                <a:rPr lang="sv-SE" sz="2400" dirty="0" err="1">
                  <a:gradFill>
                    <a:gsLst>
                      <a:gs pos="2917">
                        <a:schemeClr val="tx1"/>
                      </a:gs>
                      <a:gs pos="30000">
                        <a:schemeClr val="tx1"/>
                      </a:gs>
                    </a:gsLst>
                    <a:lin ang="5400000" scaled="0"/>
                  </a:gradFill>
                </a:rPr>
                <a:t>Suite</a:t>
              </a:r>
              <a:endParaRPr lang="sv-SE" sz="24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3650176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3"/>
                                        </p:tgtEl>
                                        <p:attrNameLst>
                                          <p:attrName>style.visibility</p:attrName>
                                        </p:attrNameLst>
                                      </p:cBhvr>
                                      <p:to>
                                        <p:strVal val="visible"/>
                                      </p:to>
                                    </p:set>
                                    <p:animEffect transition="in" filter="fade">
                                      <p:cBhvr>
                                        <p:cTn id="11" dur="500"/>
                                        <p:tgtEl>
                                          <p:spTgt spid="83"/>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77"/>
                                        </p:tgtEl>
                                        <p:attrNameLst>
                                          <p:attrName>style.visibility</p:attrName>
                                        </p:attrNameLst>
                                      </p:cBhvr>
                                      <p:to>
                                        <p:strVal val="visible"/>
                                      </p:to>
                                    </p:set>
                                    <p:animEffect transition="in" filter="fade">
                                      <p:cBhvr>
                                        <p:cTn id="16" dur="500"/>
                                        <p:tgtEl>
                                          <p:spTgt spid="77"/>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4"/>
                                        </p:tgtEl>
                                        <p:attrNameLst>
                                          <p:attrName>style.visibility</p:attrName>
                                        </p:attrNameLst>
                                      </p:cBhvr>
                                      <p:to>
                                        <p:strVal val="visible"/>
                                      </p:to>
                                    </p:set>
                                    <p:animEffect transition="in" filter="fade">
                                      <p:cBhvr>
                                        <p:cTn id="21" dur="500"/>
                                        <p:tgtEl>
                                          <p:spTgt spid="74"/>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68"/>
                                        </p:tgtEl>
                                        <p:attrNameLst>
                                          <p:attrName>style.visibility</p:attrName>
                                        </p:attrNameLst>
                                      </p:cBhvr>
                                      <p:to>
                                        <p:strVal val="visible"/>
                                      </p:to>
                                    </p:set>
                                    <p:animEffect transition="in" filter="fade">
                                      <p:cBhvr>
                                        <p:cTn id="26" dur="500"/>
                                        <p:tgtEl>
                                          <p:spTgt spid="68"/>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fade">
                                      <p:cBhvr>
                                        <p:cTn id="31" dur="500"/>
                                        <p:tgtEl>
                                          <p:spTgt spid="49"/>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6"/>
                                        </p:tgtEl>
                                        <p:attrNameLst>
                                          <p:attrName>style.visibility</p:attrName>
                                        </p:attrNameLst>
                                      </p:cBhvr>
                                      <p:to>
                                        <p:strVal val="visible"/>
                                      </p:to>
                                    </p:set>
                                    <p:animEffect transition="in" filter="fade">
                                      <p:cBhvr>
                                        <p:cTn id="36" dur="500"/>
                                        <p:tgtEl>
                                          <p:spTgt spid="6"/>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7"/>
                                        </p:tgtEl>
                                        <p:attrNameLst>
                                          <p:attrName>style.visibility</p:attrName>
                                        </p:attrNameLst>
                                      </p:cBhvr>
                                      <p:to>
                                        <p:strVal val="visible"/>
                                      </p:to>
                                    </p:set>
                                    <p:animEffect transition="in" filter="fade">
                                      <p:cBhvr>
                                        <p:cTn id="4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IoT Services</a:t>
            </a:r>
          </a:p>
        </p:txBody>
      </p:sp>
      <p:graphicFrame>
        <p:nvGraphicFramePr>
          <p:cNvPr id="9" name="Table 8">
            <a:extLst>
              <a:ext uri="{FF2B5EF4-FFF2-40B4-BE49-F238E27FC236}">
                <a16:creationId xmlns:a16="http://schemas.microsoft.com/office/drawing/2014/main" id="{D0B7E8C4-925D-466B-8BBD-75106294F682}"/>
              </a:ext>
            </a:extLst>
          </p:cNvPr>
          <p:cNvGraphicFramePr>
            <a:graphicFrameLocks noGrp="1"/>
          </p:cNvGraphicFramePr>
          <p:nvPr>
            <p:extLst>
              <p:ext uri="{D42A27DB-BD31-4B8C-83A1-F6EECF244321}">
                <p14:modId xmlns:p14="http://schemas.microsoft.com/office/powerpoint/2010/main" val="2887757416"/>
              </p:ext>
            </p:extLst>
          </p:nvPr>
        </p:nvGraphicFramePr>
        <p:xfrm>
          <a:off x="731897" y="1851360"/>
          <a:ext cx="10994494" cy="4804341"/>
        </p:xfrm>
        <a:graphic>
          <a:graphicData uri="http://schemas.openxmlformats.org/drawingml/2006/table">
            <a:tbl>
              <a:tblPr firstRow="1" bandRow="1">
                <a:tableStyleId>{5C22544A-7EE6-4342-B048-85BDC9FD1C3A}</a:tableStyleId>
              </a:tblPr>
              <a:tblGrid>
                <a:gridCol w="1537494">
                  <a:extLst>
                    <a:ext uri="{9D8B030D-6E8A-4147-A177-3AD203B41FA5}">
                      <a16:colId xmlns:a16="http://schemas.microsoft.com/office/drawing/2014/main" val="20000"/>
                    </a:ext>
                  </a:extLst>
                </a:gridCol>
                <a:gridCol w="2364250">
                  <a:extLst>
                    <a:ext uri="{9D8B030D-6E8A-4147-A177-3AD203B41FA5}">
                      <a16:colId xmlns:a16="http://schemas.microsoft.com/office/drawing/2014/main" val="20001"/>
                    </a:ext>
                  </a:extLst>
                </a:gridCol>
                <a:gridCol w="2364250">
                  <a:extLst>
                    <a:ext uri="{9D8B030D-6E8A-4147-A177-3AD203B41FA5}">
                      <a16:colId xmlns:a16="http://schemas.microsoft.com/office/drawing/2014/main" val="20002"/>
                    </a:ext>
                  </a:extLst>
                </a:gridCol>
                <a:gridCol w="2364250">
                  <a:extLst>
                    <a:ext uri="{9D8B030D-6E8A-4147-A177-3AD203B41FA5}">
                      <a16:colId xmlns:a16="http://schemas.microsoft.com/office/drawing/2014/main" val="20003"/>
                    </a:ext>
                  </a:extLst>
                </a:gridCol>
                <a:gridCol w="2364250">
                  <a:extLst>
                    <a:ext uri="{9D8B030D-6E8A-4147-A177-3AD203B41FA5}">
                      <a16:colId xmlns:a16="http://schemas.microsoft.com/office/drawing/2014/main" val="20004"/>
                    </a:ext>
                  </a:extLst>
                </a:gridCol>
              </a:tblGrid>
              <a:tr h="479554">
                <a:tc>
                  <a:txBody>
                    <a:bodyPr/>
                    <a:lstStyle/>
                    <a:p>
                      <a:r>
                        <a:rPr lang="en-GB" sz="1600" b="0" dirty="0">
                          <a:solidFill>
                            <a:schemeClr val="tx1"/>
                          </a:solidFill>
                          <a:latin typeface="Segoe UI Semibold" panose="020B0702040204020203" pitchFamily="34" charset="0"/>
                        </a:rPr>
                        <a:t>Devices</a:t>
                      </a:r>
                      <a:endParaRPr lang="en-US" sz="1600" b="0" dirty="0">
                        <a:solidFill>
                          <a:schemeClr val="tx1"/>
                        </a:solidFill>
                        <a:latin typeface="Segoe UI Semibold" panose="020B0702040204020203" pitchFamily="34" charset="0"/>
                      </a:endParaRPr>
                    </a:p>
                  </a:txBody>
                  <a:tcPr marL="86165" marR="86165" marT="43083" marB="43083"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GB" sz="1600" b="0" baseline="0" dirty="0">
                          <a:solidFill>
                            <a:schemeClr val="tx1"/>
                          </a:solidFill>
                          <a:latin typeface="Segoe UI Semibold" panose="020B0702040204020203" pitchFamily="34" charset="0"/>
                        </a:rPr>
                        <a:t>Device Connectivity</a:t>
                      </a:r>
                      <a:endParaRPr lang="en-GB" sz="1600" b="0" dirty="0">
                        <a:solidFill>
                          <a:schemeClr val="tx1"/>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GB" sz="1600" b="0" dirty="0">
                          <a:solidFill>
                            <a:schemeClr val="tx1"/>
                          </a:solidFill>
                          <a:latin typeface="Segoe UI Semibold" panose="020B0702040204020203" pitchFamily="34" charset="0"/>
                        </a:rPr>
                        <a:t>Storage</a:t>
                      </a:r>
                      <a:endParaRPr lang="en-US" sz="1600" b="0" dirty="0">
                        <a:solidFill>
                          <a:schemeClr val="tx1"/>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GB" sz="1600" b="0" dirty="0">
                          <a:solidFill>
                            <a:schemeClr val="tx1"/>
                          </a:solidFill>
                          <a:latin typeface="Segoe UI Semibold" panose="020B0702040204020203" pitchFamily="34" charset="0"/>
                        </a:rPr>
                        <a:t>Analytics</a:t>
                      </a:r>
                      <a:endParaRPr lang="en-US" sz="1600" b="0" dirty="0">
                        <a:solidFill>
                          <a:schemeClr val="tx1"/>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indent="0" algn="ctr" defTabSz="699630" rtl="0" eaLnBrk="1" fontAlgn="auto" latinLnBrk="0" hangingPunct="1">
                        <a:lnSpc>
                          <a:spcPct val="100000"/>
                        </a:lnSpc>
                        <a:spcBef>
                          <a:spcPts val="0"/>
                        </a:spcBef>
                        <a:spcAft>
                          <a:spcPts val="0"/>
                        </a:spcAft>
                        <a:buClrTx/>
                        <a:buSzTx/>
                        <a:buFontTx/>
                        <a:buNone/>
                        <a:tabLst/>
                        <a:defRPr/>
                      </a:pPr>
                      <a:r>
                        <a:rPr lang="en-GB" sz="1600" b="0" kern="1200" dirty="0">
                          <a:solidFill>
                            <a:schemeClr val="tx1"/>
                          </a:solidFill>
                          <a:latin typeface="Segoe UI Semibold" panose="020B0702040204020203" pitchFamily="34" charset="0"/>
                          <a:ea typeface="+mn-ea"/>
                          <a:cs typeface="+mn-cs"/>
                        </a:rPr>
                        <a:t>Presentation &amp; Action</a:t>
                      </a:r>
                    </a:p>
                  </a:txBody>
                  <a:tcPr marL="86165" marR="86165"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000"/>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Event Hubs </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SQL Database</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Machine Learning</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App</a:t>
                      </a:r>
                      <a:r>
                        <a:rPr lang="en-US" sz="1600" kern="0" baseline="0" dirty="0">
                          <a:solidFill>
                            <a:srgbClr val="FFFFFF"/>
                          </a:solidFill>
                        </a:rPr>
                        <a:t> Service</a:t>
                      </a:r>
                      <a:endParaRPr lang="en-US" sz="1600" kern="0" dirty="0">
                        <a:solidFill>
                          <a:srgbClr val="FFFFFF"/>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1"/>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Service Bu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Table/Blob Storage</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Stream Analytic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Power BI</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2"/>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External Data Sources</a:t>
                      </a:r>
                      <a:endParaRPr lang="en-US" sz="1600" dirty="0">
                        <a:solidFill>
                          <a:schemeClr val="bg1"/>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DocumentDB</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err="1">
                          <a:solidFill>
                            <a:srgbClr val="FFFFFF"/>
                          </a:solidFill>
                        </a:rPr>
                        <a:t>HDInsight</a:t>
                      </a:r>
                      <a:endParaRPr lang="en-US" sz="1600" kern="0" dirty="0">
                        <a:solidFill>
                          <a:srgbClr val="FFFFFF"/>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Notification Hub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3"/>
                  </a:ext>
                </a:extLst>
              </a:tr>
              <a:tr h="957795">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endParaRPr lang="en-US" sz="1600" dirty="0">
                        <a:solidFill>
                          <a:schemeClr val="bg1"/>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External Data Source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Data Factory</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Mobile Service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4"/>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BizTalk Service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5"/>
                  </a:ext>
                </a:extLst>
              </a:tr>
            </a:tbl>
          </a:graphicData>
        </a:graphic>
      </p:graphicFrame>
      <p:grpSp>
        <p:nvGrpSpPr>
          <p:cNvPr id="10" name="Group 9">
            <a:extLst>
              <a:ext uri="{FF2B5EF4-FFF2-40B4-BE49-F238E27FC236}">
                <a16:creationId xmlns:a16="http://schemas.microsoft.com/office/drawing/2014/main" id="{41CB24E6-241C-4256-B01D-D4C4E2984E46}"/>
              </a:ext>
            </a:extLst>
          </p:cNvPr>
          <p:cNvGrpSpPr>
            <a:grpSpLocks noChangeAspect="1"/>
          </p:cNvGrpSpPr>
          <p:nvPr/>
        </p:nvGrpSpPr>
        <p:grpSpPr>
          <a:xfrm>
            <a:off x="991004" y="2577598"/>
            <a:ext cx="857276" cy="527895"/>
            <a:chOff x="5893817" y="-2363993"/>
            <a:chExt cx="1589176" cy="978587"/>
          </a:xfrm>
        </p:grpSpPr>
        <p:pic>
          <p:nvPicPr>
            <p:cNvPr id="11" name="Picture 10">
              <a:extLst>
                <a:ext uri="{FF2B5EF4-FFF2-40B4-BE49-F238E27FC236}">
                  <a16:creationId xmlns:a16="http://schemas.microsoft.com/office/drawing/2014/main" id="{621EB4E6-73B1-4352-A9FF-3C4C2915442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91521" y="-2363993"/>
              <a:ext cx="190326" cy="365760"/>
            </a:xfrm>
            <a:prstGeom prst="rect">
              <a:avLst/>
            </a:prstGeom>
          </p:spPr>
        </p:pic>
        <p:grpSp>
          <p:nvGrpSpPr>
            <p:cNvPr id="12" name="Group 11">
              <a:extLst>
                <a:ext uri="{FF2B5EF4-FFF2-40B4-BE49-F238E27FC236}">
                  <a16:creationId xmlns:a16="http://schemas.microsoft.com/office/drawing/2014/main" id="{9CBD5C9D-70A3-4EDF-BB43-0848326E0E0D}"/>
                </a:ext>
              </a:extLst>
            </p:cNvPr>
            <p:cNvGrpSpPr>
              <a:grpSpLocks noChangeAspect="1"/>
            </p:cNvGrpSpPr>
            <p:nvPr/>
          </p:nvGrpSpPr>
          <p:grpSpPr>
            <a:xfrm>
              <a:off x="6051365" y="-2363989"/>
              <a:ext cx="1149652" cy="978583"/>
              <a:chOff x="2475317" y="-6877877"/>
              <a:chExt cx="1493848" cy="1271229"/>
            </a:xfrm>
          </p:grpSpPr>
          <p:sp>
            <p:nvSpPr>
              <p:cNvPr id="17" name="Round Same Side Corner Rectangle 11">
                <a:extLst>
                  <a:ext uri="{FF2B5EF4-FFF2-40B4-BE49-F238E27FC236}">
                    <a16:creationId xmlns:a16="http://schemas.microsoft.com/office/drawing/2014/main" id="{F5583D2C-B6F6-4BBF-9C8C-6FE546229F1B}"/>
                  </a:ext>
                </a:extLst>
              </p:cNvPr>
              <p:cNvSpPr/>
              <p:nvPr/>
            </p:nvSpPr>
            <p:spPr>
              <a:xfrm>
                <a:off x="2475317" y="-6877877"/>
                <a:ext cx="564521" cy="361777"/>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698840">
                  <a:defRPr/>
                </a:pPr>
                <a:endParaRPr lang="en-US" sz="900" kern="0">
                  <a:solidFill>
                    <a:srgbClr val="000000"/>
                  </a:solidFill>
                  <a:sym typeface="Segoe UI" panose="020B0502040204020203" pitchFamily="34" charset="0"/>
                </a:endParaRPr>
              </a:p>
            </p:txBody>
          </p:sp>
          <p:sp>
            <p:nvSpPr>
              <p:cNvPr id="18" name="Trapezoid 12">
                <a:extLst>
                  <a:ext uri="{FF2B5EF4-FFF2-40B4-BE49-F238E27FC236}">
                    <a16:creationId xmlns:a16="http://schemas.microsoft.com/office/drawing/2014/main" id="{E601F91C-7F45-446B-9698-80D12F69A3C6}"/>
                  </a:ext>
                </a:extLst>
              </p:cNvPr>
              <p:cNvSpPr/>
              <p:nvPr/>
            </p:nvSpPr>
            <p:spPr>
              <a:xfrm>
                <a:off x="3302775" y="-5690773"/>
                <a:ext cx="666390" cy="84125"/>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698840">
                  <a:defRPr/>
                </a:pPr>
                <a:endParaRPr lang="en-US" sz="900" kern="0">
                  <a:solidFill>
                    <a:srgbClr val="000000"/>
                  </a:solidFill>
                  <a:sym typeface="Segoe UI" panose="020B0502040204020203" pitchFamily="34" charset="0"/>
                </a:endParaRPr>
              </a:p>
            </p:txBody>
          </p:sp>
        </p:grpSp>
        <p:sp>
          <p:nvSpPr>
            <p:cNvPr id="13" name="Rounded Rectangle 6">
              <a:extLst>
                <a:ext uri="{FF2B5EF4-FFF2-40B4-BE49-F238E27FC236}">
                  <a16:creationId xmlns:a16="http://schemas.microsoft.com/office/drawing/2014/main" id="{3F22981D-2D86-488E-AD30-0BE0ECE47B82}"/>
                </a:ext>
              </a:extLst>
            </p:cNvPr>
            <p:cNvSpPr>
              <a:spLocks noChangeAspect="1"/>
            </p:cNvSpPr>
            <p:nvPr/>
          </p:nvSpPr>
          <p:spPr bwMode="auto">
            <a:xfrm rot="16200000">
              <a:off x="6950542" y="-2438448"/>
              <a:ext cx="349866" cy="50943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10795" cap="flat" cmpd="sng" algn="ctr">
              <a:noFill/>
              <a:prstDash val="solid"/>
              <a:headEnd type="none" w="med" len="med"/>
              <a:tailEnd type="none" w="med" len="med"/>
            </a:ln>
            <a:effectLst/>
          </p:spPr>
          <p:txBody>
            <a:bodyPr vert="horz" wrap="square" lIns="68548" tIns="34273" rIns="68548" bIns="34273" numCol="1" rtlCol="0" anchor="ctr" anchorCtr="0" compatLnSpc="1">
              <a:prstTxWarp prst="textNoShape">
                <a:avLst/>
              </a:prstTxWarp>
            </a:bodyPr>
            <a:lstStyle/>
            <a:p>
              <a:pPr algn="ctr" defTabSz="616560">
                <a:defRPr/>
              </a:pPr>
              <a:endParaRPr lang="en-US" sz="1350" kern="0" dirty="0">
                <a:solidFill>
                  <a:srgbClr val="000000"/>
                </a:solidFill>
                <a:latin typeface="Segoe UI Light" panose="020B0502040204020203" pitchFamily="34" charset="0"/>
                <a:sym typeface="Segoe UI Light" panose="020B0502040204020203" pitchFamily="34" charset="0"/>
              </a:endParaRPr>
            </a:p>
          </p:txBody>
        </p:sp>
        <p:pic>
          <p:nvPicPr>
            <p:cNvPr id="14" name="Picture 2" descr="\\MAGNUM\Projects\Microsoft\Cloud Power FY12\Design\ICONS_PNG\Next_Gen_Application.png">
              <a:extLst>
                <a:ext uri="{FF2B5EF4-FFF2-40B4-BE49-F238E27FC236}">
                  <a16:creationId xmlns:a16="http://schemas.microsoft.com/office/drawing/2014/main" id="{1B7500D4-6610-4EFD-A093-261BC3217783}"/>
                </a:ext>
              </a:extLst>
            </p:cNvPr>
            <p:cNvPicPr>
              <a:picLocks noChangeAspect="1" noChangeArrowheads="1"/>
            </p:cNvPicPr>
            <p:nvPr/>
          </p:nvPicPr>
          <p:blipFill>
            <a:blip r:embed="rId4" cstate="screen">
              <a:lum bright="100000"/>
              <a:extLst>
                <a:ext uri="{28A0092B-C50C-407E-A947-70E740481C1C}">
                  <a14:useLocalDpi xmlns:a14="http://schemas.microsoft.com/office/drawing/2010/main"/>
                </a:ext>
              </a:extLst>
            </a:blip>
            <a:srcRect/>
            <a:stretch>
              <a:fillRect/>
            </a:stretch>
          </p:blipFill>
          <p:spPr bwMode="auto">
            <a:xfrm>
              <a:off x="5893817" y="-2050668"/>
              <a:ext cx="640080" cy="640079"/>
            </a:xfrm>
            <a:prstGeom prst="rect">
              <a:avLst/>
            </a:prstGeom>
            <a:noFill/>
          </p:spPr>
        </p:pic>
        <p:pic>
          <p:nvPicPr>
            <p:cNvPr id="15" name="Picture 24" descr="E:\Eric Suchiang FD\Icons\Metro Icon\Metro icons ALL WHITE\cctv.png">
              <a:extLst>
                <a:ext uri="{FF2B5EF4-FFF2-40B4-BE49-F238E27FC236}">
                  <a16:creationId xmlns:a16="http://schemas.microsoft.com/office/drawing/2014/main" id="{0ED784F4-642F-4A54-8560-BDFF66901A8A}"/>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6751473" y="-1979040"/>
              <a:ext cx="731520" cy="40348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48">
              <a:extLst>
                <a:ext uri="{FF2B5EF4-FFF2-40B4-BE49-F238E27FC236}">
                  <a16:creationId xmlns:a16="http://schemas.microsoft.com/office/drawing/2014/main" id="{8B93CDCD-F993-4627-9443-04FFFAE7C347}"/>
                </a:ext>
              </a:extLst>
            </p:cNvPr>
            <p:cNvSpPr>
              <a:spLocks noChangeAspect="1"/>
            </p:cNvSpPr>
            <p:nvPr/>
          </p:nvSpPr>
          <p:spPr bwMode="auto">
            <a:xfrm flipH="1">
              <a:off x="6520288" y="-1953486"/>
              <a:ext cx="304147" cy="445714"/>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rgbClr val="FFFFFF"/>
            </a:solidFill>
            <a:ln w="12700" cap="flat" cmpd="sng" algn="ctr">
              <a:noFill/>
              <a:prstDash val="solid"/>
              <a:headEnd type="none" w="med" len="med"/>
              <a:tailEnd type="none" w="med" len="med"/>
            </a:ln>
            <a:effectLst/>
          </p:spPr>
          <p:txBody>
            <a:bodyPr vert="horz" wrap="none" lIns="67201" tIns="33601" rIns="67201" bIns="33601" numCol="1" rtlCol="0" anchor="ctr" anchorCtr="0" compatLnSpc="1">
              <a:prstTxWarp prst="textNoShape">
                <a:avLst/>
              </a:prstTxWarp>
            </a:bodyPr>
            <a:lstStyle/>
            <a:p>
              <a:pPr algn="ctr" defTabSz="671355" fontAlgn="base">
                <a:spcBef>
                  <a:spcPct val="0"/>
                </a:spcBef>
                <a:spcAft>
                  <a:spcPct val="0"/>
                </a:spcAft>
                <a:defRPr/>
              </a:pPr>
              <a:endParaRPr lang="en-US" sz="1275" kern="0" dirty="0">
                <a:solidFill>
                  <a:srgbClr val="000000"/>
                </a:solidFill>
              </a:endParaRPr>
            </a:p>
          </p:txBody>
        </p:sp>
      </p:grpSp>
      <p:grpSp>
        <p:nvGrpSpPr>
          <p:cNvPr id="19" name="Group 18">
            <a:extLst>
              <a:ext uri="{FF2B5EF4-FFF2-40B4-BE49-F238E27FC236}">
                <a16:creationId xmlns:a16="http://schemas.microsoft.com/office/drawing/2014/main" id="{8DD919E4-F457-4302-8132-851FE0FF2906}"/>
              </a:ext>
            </a:extLst>
          </p:cNvPr>
          <p:cNvGrpSpPr>
            <a:grpSpLocks noChangeAspect="1"/>
          </p:cNvGrpSpPr>
          <p:nvPr/>
        </p:nvGrpSpPr>
        <p:grpSpPr>
          <a:xfrm>
            <a:off x="1121733" y="3315968"/>
            <a:ext cx="695399" cy="516592"/>
            <a:chOff x="5630249" y="-855090"/>
            <a:chExt cx="1258953" cy="935238"/>
          </a:xfrm>
          <a:solidFill>
            <a:schemeClr val="bg1"/>
          </a:solidFill>
        </p:grpSpPr>
        <p:sp>
          <p:nvSpPr>
            <p:cNvPr id="20" name="Freeform 239">
              <a:extLst>
                <a:ext uri="{FF2B5EF4-FFF2-40B4-BE49-F238E27FC236}">
                  <a16:creationId xmlns:a16="http://schemas.microsoft.com/office/drawing/2014/main" id="{ACF6B309-0A67-4344-9F09-27AD64A913A2}"/>
                </a:ext>
              </a:extLst>
            </p:cNvPr>
            <p:cNvSpPr>
              <a:spLocks/>
            </p:cNvSpPr>
            <p:nvPr/>
          </p:nvSpPr>
          <p:spPr bwMode="auto">
            <a:xfrm>
              <a:off x="6536381" y="-810289"/>
              <a:ext cx="352821" cy="439918"/>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solidFill>
              <a:schemeClr val="tx1"/>
            </a:solidFill>
            <a:ln>
              <a:noFill/>
            </a:ln>
            <a:extLst/>
          </p:spPr>
          <p:txBody>
            <a:bodyPr vert="horz" wrap="square" lIns="68551" tIns="34275" rIns="68551" bIns="34275" numCol="1" anchor="t" anchorCtr="0" compatLnSpc="1">
              <a:prstTxWarp prst="textNoShape">
                <a:avLst/>
              </a:prstTxWarp>
            </a:bodyPr>
            <a:lstStyle/>
            <a:p>
              <a:pPr algn="ctr" defTabSz="698840">
                <a:defRPr/>
              </a:pPr>
              <a:endParaRPr lang="en-US" sz="1350" kern="0" dirty="0">
                <a:solidFill>
                  <a:srgbClr val="000000"/>
                </a:solidFill>
              </a:endParaRPr>
            </a:p>
          </p:txBody>
        </p:sp>
        <p:sp>
          <p:nvSpPr>
            <p:cNvPr id="21" name="Round Same Side Corner Rectangle 26">
              <a:extLst>
                <a:ext uri="{FF2B5EF4-FFF2-40B4-BE49-F238E27FC236}">
                  <a16:creationId xmlns:a16="http://schemas.microsoft.com/office/drawing/2014/main" id="{B92FC539-E62E-45B4-92B1-B33D955D5636}"/>
                </a:ext>
              </a:extLst>
            </p:cNvPr>
            <p:cNvSpPr>
              <a:spLocks noChangeAspect="1"/>
            </p:cNvSpPr>
            <p:nvPr/>
          </p:nvSpPr>
          <p:spPr bwMode="auto">
            <a:xfrm>
              <a:off x="6169585" y="-360487"/>
              <a:ext cx="240729" cy="403680"/>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68551" tIns="34275" rIns="34275" bIns="68551" numCol="1" spcCol="0" rtlCol="0" fromWordArt="0" anchor="b" anchorCtr="0" forceAA="0" compatLnSpc="1">
              <a:prstTxWarp prst="textNoShape">
                <a:avLst/>
              </a:prstTxWarp>
              <a:noAutofit/>
            </a:bodyPr>
            <a:lstStyle/>
            <a:p>
              <a:pPr algn="ctr" defTabSz="684846" fontAlgn="base">
                <a:spcBef>
                  <a:spcPct val="0"/>
                </a:spcBef>
                <a:spcAft>
                  <a:spcPct val="0"/>
                </a:spcAft>
                <a:defRPr/>
              </a:pPr>
              <a:endParaRPr lang="en-US" sz="750" kern="0" dirty="0" err="1">
                <a:solidFill>
                  <a:srgbClr val="000000"/>
                </a:solidFill>
                <a:ea typeface="Segoe UI" pitchFamily="34" charset="0"/>
                <a:cs typeface="Segoe UI" pitchFamily="34" charset="0"/>
              </a:endParaRPr>
            </a:p>
          </p:txBody>
        </p:sp>
        <p:pic>
          <p:nvPicPr>
            <p:cNvPr id="22" name="Picture 3" descr="C:\Users\chrisw\Desktop\Kinect Hand.png">
              <a:extLst>
                <a:ext uri="{FF2B5EF4-FFF2-40B4-BE49-F238E27FC236}">
                  <a16:creationId xmlns:a16="http://schemas.microsoft.com/office/drawing/2014/main" id="{678C0FDE-3032-4609-B539-44D796E0B0A3}"/>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black">
            <a:xfrm>
              <a:off x="5630249" y="-354098"/>
              <a:ext cx="495792" cy="397290"/>
            </a:xfrm>
            <a:prstGeom prst="rect">
              <a:avLst/>
            </a:prstGeom>
            <a:noFill/>
            <a:extLst/>
          </p:spPr>
        </p:pic>
        <p:sp>
          <p:nvSpPr>
            <p:cNvPr id="23" name="Freeform 362">
              <a:extLst>
                <a:ext uri="{FF2B5EF4-FFF2-40B4-BE49-F238E27FC236}">
                  <a16:creationId xmlns:a16="http://schemas.microsoft.com/office/drawing/2014/main" id="{72C74A64-12C4-41D4-92C8-F99921F14A72}"/>
                </a:ext>
              </a:extLst>
            </p:cNvPr>
            <p:cNvSpPr>
              <a:spLocks noChangeAspect="1"/>
            </p:cNvSpPr>
            <p:nvPr/>
          </p:nvSpPr>
          <p:spPr bwMode="auto">
            <a:xfrm rot="19207886">
              <a:off x="5709957" y="-855090"/>
              <a:ext cx="265470" cy="461887"/>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solidFill>
              <a:schemeClr val="tx1"/>
            </a:solidFill>
            <a:ln w="0">
              <a:noFill/>
              <a:prstDash val="solid"/>
              <a:round/>
              <a:headEnd/>
              <a:tailEnd/>
            </a:ln>
          </p:spPr>
          <p:txBody>
            <a:bodyPr vert="horz" wrap="square" lIns="67203" tIns="33602" rIns="67203" bIns="33602" numCol="1" anchor="t" anchorCtr="0" compatLnSpc="1">
              <a:prstTxWarp prst="textNoShape">
                <a:avLst/>
              </a:prstTxWarp>
            </a:bodyPr>
            <a:lstStyle/>
            <a:p>
              <a:pPr algn="ctr" defTabSz="671576">
                <a:defRPr/>
              </a:pPr>
              <a:endParaRPr lang="en-US" sz="1275" kern="0">
                <a:solidFill>
                  <a:srgbClr val="000000"/>
                </a:solidFill>
              </a:endParaRPr>
            </a:p>
          </p:txBody>
        </p:sp>
        <p:sp>
          <p:nvSpPr>
            <p:cNvPr id="24" name="handheld">
              <a:extLst>
                <a:ext uri="{FF2B5EF4-FFF2-40B4-BE49-F238E27FC236}">
                  <a16:creationId xmlns:a16="http://schemas.microsoft.com/office/drawing/2014/main" id="{2EAE454E-6B00-42B8-91FB-72FBC6D17DE1}"/>
                </a:ext>
              </a:extLst>
            </p:cNvPr>
            <p:cNvSpPr>
              <a:spLocks noChangeAspect="1"/>
            </p:cNvSpPr>
            <p:nvPr/>
          </p:nvSpPr>
          <p:spPr bwMode="auto">
            <a:xfrm>
              <a:off x="6068808" y="-810289"/>
              <a:ext cx="396090" cy="274321"/>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68551" tIns="34275" rIns="822610" bIns="34275" numCol="1" spcCol="0" rtlCol="0" fromWordArt="0" anchor="b" anchorCtr="0" forceAA="0" compatLnSpc="1">
              <a:prstTxWarp prst="textNoShape">
                <a:avLst/>
              </a:prstTxWarp>
              <a:noAutofit/>
            </a:bodyPr>
            <a:lstStyle/>
            <a:p>
              <a:pPr defTabSz="684846" fontAlgn="base">
                <a:spcBef>
                  <a:spcPct val="0"/>
                </a:spcBef>
                <a:spcAft>
                  <a:spcPct val="0"/>
                </a:spcAft>
                <a:defRPr/>
              </a:pPr>
              <a:endParaRPr lang="en-US" sz="1650" kern="0" spc="-38" dirty="0" err="1">
                <a:solidFill>
                  <a:srgbClr val="000000"/>
                </a:solidFill>
                <a:latin typeface="Segoe UI Light"/>
                <a:ea typeface="Segoe UI" pitchFamily="34" charset="0"/>
                <a:cs typeface="Segoe UI" pitchFamily="34" charset="0"/>
              </a:endParaRPr>
            </a:p>
          </p:txBody>
        </p:sp>
        <p:sp>
          <p:nvSpPr>
            <p:cNvPr id="25" name="Freeform 86">
              <a:extLst>
                <a:ext uri="{FF2B5EF4-FFF2-40B4-BE49-F238E27FC236}">
                  <a16:creationId xmlns:a16="http://schemas.microsoft.com/office/drawing/2014/main" id="{1EE25ACF-A3CC-4C42-9A91-18C821E6DD07}"/>
                </a:ext>
              </a:extLst>
            </p:cNvPr>
            <p:cNvSpPr>
              <a:spLocks noEditPoints="1"/>
            </p:cNvSpPr>
            <p:nvPr/>
          </p:nvSpPr>
          <p:spPr bwMode="black">
            <a:xfrm>
              <a:off x="6488062" y="-249940"/>
              <a:ext cx="328185" cy="33008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1" tIns="34275" rIns="68551" bIns="34275" numCol="1" anchor="t" anchorCtr="0" compatLnSpc="1">
              <a:prstTxWarp prst="textNoShape">
                <a:avLst/>
              </a:prstTxWarp>
            </a:bodyPr>
            <a:lstStyle/>
            <a:p>
              <a:pPr defTabSz="698813"/>
              <a:endParaRPr lang="en-US" sz="1575">
                <a:solidFill>
                  <a:srgbClr val="000000"/>
                </a:solidFill>
              </a:endParaRPr>
            </a:p>
          </p:txBody>
        </p:sp>
      </p:grpSp>
      <p:grpSp>
        <p:nvGrpSpPr>
          <p:cNvPr id="26" name="Group 25">
            <a:extLst>
              <a:ext uri="{FF2B5EF4-FFF2-40B4-BE49-F238E27FC236}">
                <a16:creationId xmlns:a16="http://schemas.microsoft.com/office/drawing/2014/main" id="{BACD5E2F-0EC7-461A-85EA-7852D0F1CB5D}"/>
              </a:ext>
            </a:extLst>
          </p:cNvPr>
          <p:cNvGrpSpPr/>
          <p:nvPr/>
        </p:nvGrpSpPr>
        <p:grpSpPr>
          <a:xfrm>
            <a:off x="1444172" y="4292562"/>
            <a:ext cx="552282" cy="335680"/>
            <a:chOff x="2012636" y="-279971"/>
            <a:chExt cx="734842" cy="447764"/>
          </a:xfrm>
          <a:solidFill>
            <a:schemeClr val="bg1"/>
          </a:solidFill>
        </p:grpSpPr>
        <p:sp>
          <p:nvSpPr>
            <p:cNvPr id="27" name="Donut 100">
              <a:extLst>
                <a:ext uri="{FF2B5EF4-FFF2-40B4-BE49-F238E27FC236}">
                  <a16:creationId xmlns:a16="http://schemas.microsoft.com/office/drawing/2014/main" id="{5E372BAB-F78A-4325-9A8B-4410A9162D21}"/>
                </a:ext>
              </a:extLst>
            </p:cNvPr>
            <p:cNvSpPr>
              <a:spLocks noChangeAspect="1"/>
            </p:cNvSpPr>
            <p:nvPr/>
          </p:nvSpPr>
          <p:spPr bwMode="auto">
            <a:xfrm>
              <a:off x="2012636" y="-139831"/>
              <a:ext cx="643825" cy="307624"/>
            </a:xfrm>
            <a:custGeom>
              <a:avLst/>
              <a:gdLst/>
              <a:ahLst/>
              <a:cxnLst/>
              <a:rect l="l" t="t" r="r" b="b"/>
              <a:pathLst>
                <a:path w="6911584" h="2912616">
                  <a:moveTo>
                    <a:pt x="4928423" y="2274235"/>
                  </a:moveTo>
                  <a:cubicBezTo>
                    <a:pt x="4810900" y="2274235"/>
                    <a:pt x="4715629" y="2369506"/>
                    <a:pt x="4715629" y="2487029"/>
                  </a:cubicBezTo>
                  <a:cubicBezTo>
                    <a:pt x="4715629" y="2604552"/>
                    <a:pt x="4810900" y="2699823"/>
                    <a:pt x="4928423" y="2699823"/>
                  </a:cubicBezTo>
                  <a:cubicBezTo>
                    <a:pt x="5045946" y="2699823"/>
                    <a:pt x="5141217" y="2604552"/>
                    <a:pt x="5141217" y="2487029"/>
                  </a:cubicBezTo>
                  <a:cubicBezTo>
                    <a:pt x="5141217" y="2369506"/>
                    <a:pt x="5045946" y="2274235"/>
                    <a:pt x="4928423" y="2274235"/>
                  </a:cubicBezTo>
                  <a:close/>
                  <a:moveTo>
                    <a:pt x="813623" y="2274235"/>
                  </a:moveTo>
                  <a:cubicBezTo>
                    <a:pt x="696100" y="2274235"/>
                    <a:pt x="600829" y="2369506"/>
                    <a:pt x="600829" y="2487029"/>
                  </a:cubicBezTo>
                  <a:cubicBezTo>
                    <a:pt x="600829" y="2604552"/>
                    <a:pt x="696100" y="2699823"/>
                    <a:pt x="813623" y="2699823"/>
                  </a:cubicBezTo>
                  <a:cubicBezTo>
                    <a:pt x="931146" y="2699823"/>
                    <a:pt x="1026417" y="2604552"/>
                    <a:pt x="1026417" y="2487029"/>
                  </a:cubicBezTo>
                  <a:cubicBezTo>
                    <a:pt x="1026417" y="2369506"/>
                    <a:pt x="931146" y="2274235"/>
                    <a:pt x="813623" y="2274235"/>
                  </a:cubicBezTo>
                  <a:close/>
                  <a:moveTo>
                    <a:pt x="4928422" y="2061442"/>
                  </a:moveTo>
                  <a:cubicBezTo>
                    <a:pt x="5163467" y="2061442"/>
                    <a:pt x="5354009" y="2251984"/>
                    <a:pt x="5354009" y="2487029"/>
                  </a:cubicBezTo>
                  <a:cubicBezTo>
                    <a:pt x="5354009" y="2722074"/>
                    <a:pt x="5163467" y="2912616"/>
                    <a:pt x="4928422" y="2912616"/>
                  </a:cubicBezTo>
                  <a:cubicBezTo>
                    <a:pt x="4693377" y="2912616"/>
                    <a:pt x="4502835" y="2722074"/>
                    <a:pt x="4502835" y="2487029"/>
                  </a:cubicBezTo>
                  <a:cubicBezTo>
                    <a:pt x="4502835" y="2251984"/>
                    <a:pt x="4693377" y="2061442"/>
                    <a:pt x="4928422" y="2061442"/>
                  </a:cubicBezTo>
                  <a:close/>
                  <a:moveTo>
                    <a:pt x="813622" y="2061442"/>
                  </a:moveTo>
                  <a:cubicBezTo>
                    <a:pt x="1048667" y="2061442"/>
                    <a:pt x="1239209" y="2251984"/>
                    <a:pt x="1239209" y="2487029"/>
                  </a:cubicBezTo>
                  <a:cubicBezTo>
                    <a:pt x="1239209" y="2722074"/>
                    <a:pt x="1048667" y="2912616"/>
                    <a:pt x="813622" y="2912616"/>
                  </a:cubicBezTo>
                  <a:cubicBezTo>
                    <a:pt x="578577" y="2912616"/>
                    <a:pt x="388035" y="2722074"/>
                    <a:pt x="388035" y="2487029"/>
                  </a:cubicBezTo>
                  <a:cubicBezTo>
                    <a:pt x="388035" y="2251984"/>
                    <a:pt x="578577" y="2061442"/>
                    <a:pt x="813622" y="2061442"/>
                  </a:cubicBezTo>
                  <a:close/>
                  <a:moveTo>
                    <a:pt x="2036754" y="1611385"/>
                  </a:moveTo>
                  <a:cubicBezTo>
                    <a:pt x="2013445" y="1611385"/>
                    <a:pt x="1994550" y="1630280"/>
                    <a:pt x="1994550" y="1653589"/>
                  </a:cubicBezTo>
                  <a:lnTo>
                    <a:pt x="1994550" y="1854931"/>
                  </a:lnTo>
                  <a:cubicBezTo>
                    <a:pt x="1994550" y="1878240"/>
                    <a:pt x="2013445" y="1897135"/>
                    <a:pt x="2036754" y="1897135"/>
                  </a:cubicBezTo>
                  <a:lnTo>
                    <a:pt x="2066645" y="1897135"/>
                  </a:lnTo>
                  <a:cubicBezTo>
                    <a:pt x="2089954" y="1897135"/>
                    <a:pt x="2108849" y="1878240"/>
                    <a:pt x="2108849" y="1854931"/>
                  </a:cubicBezTo>
                  <a:lnTo>
                    <a:pt x="2108849" y="1653589"/>
                  </a:lnTo>
                  <a:cubicBezTo>
                    <a:pt x="2108849" y="1630280"/>
                    <a:pt x="2089954" y="1611385"/>
                    <a:pt x="2066645" y="1611385"/>
                  </a:cubicBezTo>
                  <a:close/>
                  <a:moveTo>
                    <a:pt x="1475440" y="727942"/>
                  </a:moveTo>
                  <a:cubicBezTo>
                    <a:pt x="1454397" y="727942"/>
                    <a:pt x="1437338" y="745001"/>
                    <a:pt x="1437338" y="766044"/>
                  </a:cubicBezTo>
                  <a:lnTo>
                    <a:pt x="1437338" y="1383960"/>
                  </a:lnTo>
                  <a:cubicBezTo>
                    <a:pt x="1437338" y="1405003"/>
                    <a:pt x="1454397" y="1422062"/>
                    <a:pt x="1475440" y="1422062"/>
                  </a:cubicBezTo>
                  <a:lnTo>
                    <a:pt x="2070748" y="1422062"/>
                  </a:lnTo>
                  <a:cubicBezTo>
                    <a:pt x="2091791" y="1422062"/>
                    <a:pt x="2108850" y="1405003"/>
                    <a:pt x="2108850" y="1383960"/>
                  </a:cubicBezTo>
                  <a:lnTo>
                    <a:pt x="2108850" y="766044"/>
                  </a:lnTo>
                  <a:cubicBezTo>
                    <a:pt x="2108850" y="745001"/>
                    <a:pt x="2091791" y="727942"/>
                    <a:pt x="2070748" y="727942"/>
                  </a:cubicBezTo>
                  <a:close/>
                  <a:moveTo>
                    <a:pt x="1119593" y="646850"/>
                  </a:moveTo>
                  <a:lnTo>
                    <a:pt x="732731" y="1335162"/>
                  </a:lnTo>
                  <a:lnTo>
                    <a:pt x="848287" y="1415549"/>
                  </a:lnTo>
                  <a:lnTo>
                    <a:pt x="1124617" y="1400476"/>
                  </a:lnTo>
                  <a:cubicBezTo>
                    <a:pt x="1122942" y="1150942"/>
                    <a:pt x="1121269" y="876287"/>
                    <a:pt x="1119593" y="646850"/>
                  </a:cubicBezTo>
                  <a:close/>
                  <a:moveTo>
                    <a:pt x="1397179" y="570778"/>
                  </a:moveTo>
                  <a:lnTo>
                    <a:pt x="2125675" y="570778"/>
                  </a:lnTo>
                  <a:cubicBezTo>
                    <a:pt x="2202933" y="570778"/>
                    <a:pt x="2252218" y="637545"/>
                    <a:pt x="2252218" y="717081"/>
                  </a:cubicBezTo>
                  <a:cubicBezTo>
                    <a:pt x="2253123" y="910308"/>
                    <a:pt x="2249578" y="2044608"/>
                    <a:pt x="2248259" y="2269890"/>
                  </a:cubicBezTo>
                  <a:cubicBezTo>
                    <a:pt x="2250483" y="2331108"/>
                    <a:pt x="2252033" y="2459994"/>
                    <a:pt x="2105231" y="2459767"/>
                  </a:cubicBezTo>
                  <a:lnTo>
                    <a:pt x="1635886" y="2456926"/>
                  </a:lnTo>
                  <a:cubicBezTo>
                    <a:pt x="1549301" y="2441989"/>
                    <a:pt x="1520317" y="2406126"/>
                    <a:pt x="1487860" y="2315192"/>
                  </a:cubicBezTo>
                  <a:cubicBezTo>
                    <a:pt x="1453241" y="2211444"/>
                    <a:pt x="1369113" y="2004793"/>
                    <a:pt x="1281013" y="1739585"/>
                  </a:cubicBezTo>
                  <a:cubicBezTo>
                    <a:pt x="1281013" y="1190396"/>
                    <a:pt x="1277309" y="1261690"/>
                    <a:pt x="1277309" y="712501"/>
                  </a:cubicBezTo>
                  <a:cubicBezTo>
                    <a:pt x="1277309" y="632964"/>
                    <a:pt x="1319921" y="570778"/>
                    <a:pt x="1397179" y="570778"/>
                  </a:cubicBezTo>
                  <a:close/>
                  <a:moveTo>
                    <a:pt x="1378516" y="531296"/>
                  </a:moveTo>
                  <a:cubicBezTo>
                    <a:pt x="1295800" y="531296"/>
                    <a:pt x="1250178" y="595968"/>
                    <a:pt x="1250178" y="678684"/>
                  </a:cubicBezTo>
                  <a:cubicBezTo>
                    <a:pt x="1250178" y="1249827"/>
                    <a:pt x="1254144" y="1175683"/>
                    <a:pt x="1254144" y="1746826"/>
                  </a:cubicBezTo>
                  <a:cubicBezTo>
                    <a:pt x="1348468" y="2022635"/>
                    <a:pt x="1438538" y="2237547"/>
                    <a:pt x="1475603" y="2345442"/>
                  </a:cubicBezTo>
                  <a:cubicBezTo>
                    <a:pt x="1510353" y="2440012"/>
                    <a:pt x="1541385" y="2477308"/>
                    <a:pt x="1634086" y="2492842"/>
                  </a:cubicBezTo>
                  <a:lnTo>
                    <a:pt x="2136588" y="2495797"/>
                  </a:lnTo>
                  <a:cubicBezTo>
                    <a:pt x="2293761" y="2496033"/>
                    <a:pt x="2292101" y="2361995"/>
                    <a:pt x="2289720" y="2298329"/>
                  </a:cubicBezTo>
                  <a:cubicBezTo>
                    <a:pt x="2291132" y="2064042"/>
                    <a:pt x="2294928" y="884398"/>
                    <a:pt x="2293959" y="683448"/>
                  </a:cubicBezTo>
                  <a:cubicBezTo>
                    <a:pt x="2293959" y="600732"/>
                    <a:pt x="2241192" y="531296"/>
                    <a:pt x="2158476" y="531296"/>
                  </a:cubicBezTo>
                  <a:close/>
                  <a:moveTo>
                    <a:pt x="1423549" y="416"/>
                  </a:moveTo>
                  <a:cubicBezTo>
                    <a:pt x="1438368" y="-304"/>
                    <a:pt x="1455791" y="-118"/>
                    <a:pt x="1476421" y="1183"/>
                  </a:cubicBezTo>
                  <a:lnTo>
                    <a:pt x="6481089" y="10105"/>
                  </a:lnTo>
                  <a:cubicBezTo>
                    <a:pt x="6632014" y="13345"/>
                    <a:pt x="6655620" y="51095"/>
                    <a:pt x="6655050" y="184063"/>
                  </a:cubicBezTo>
                  <a:lnTo>
                    <a:pt x="6646128" y="2374162"/>
                  </a:lnTo>
                  <a:lnTo>
                    <a:pt x="6863866" y="2378147"/>
                  </a:lnTo>
                  <a:cubicBezTo>
                    <a:pt x="6877434" y="2384454"/>
                    <a:pt x="6910051" y="2397906"/>
                    <a:pt x="6906950" y="2418501"/>
                  </a:cubicBezTo>
                  <a:cubicBezTo>
                    <a:pt x="6907670" y="2461406"/>
                    <a:pt x="6908389" y="2504311"/>
                    <a:pt x="6909109" y="2547216"/>
                  </a:cubicBezTo>
                  <a:cubicBezTo>
                    <a:pt x="6920218" y="2597501"/>
                    <a:pt x="6893227" y="2619210"/>
                    <a:pt x="6842424" y="2621870"/>
                  </a:cubicBezTo>
                  <a:lnTo>
                    <a:pt x="5499782" y="2628410"/>
                  </a:lnTo>
                  <a:cubicBezTo>
                    <a:pt x="5461124" y="2372676"/>
                    <a:pt x="5294599" y="2012863"/>
                    <a:pt x="4928839" y="2021784"/>
                  </a:cubicBezTo>
                  <a:cubicBezTo>
                    <a:pt x="4563079" y="2030705"/>
                    <a:pt x="4451567" y="2316177"/>
                    <a:pt x="4380199" y="2623950"/>
                  </a:cubicBezTo>
                  <a:lnTo>
                    <a:pt x="1413975" y="2606108"/>
                  </a:lnTo>
                  <a:cubicBezTo>
                    <a:pt x="1330713" y="2347400"/>
                    <a:pt x="1185005" y="2039627"/>
                    <a:pt x="816270" y="2030705"/>
                  </a:cubicBezTo>
                  <a:cubicBezTo>
                    <a:pt x="447535" y="2021783"/>
                    <a:pt x="361300" y="2329558"/>
                    <a:pt x="294392" y="2458912"/>
                  </a:cubicBezTo>
                  <a:cubicBezTo>
                    <a:pt x="271687" y="2479538"/>
                    <a:pt x="308514" y="2502545"/>
                    <a:pt x="226278" y="2520790"/>
                  </a:cubicBezTo>
                  <a:lnTo>
                    <a:pt x="55873" y="2516259"/>
                  </a:lnTo>
                  <a:cubicBezTo>
                    <a:pt x="16901" y="2506858"/>
                    <a:pt x="4125" y="2495077"/>
                    <a:pt x="3253" y="2459482"/>
                  </a:cubicBezTo>
                  <a:cubicBezTo>
                    <a:pt x="1084" y="2355022"/>
                    <a:pt x="5613" y="2226184"/>
                    <a:pt x="0" y="2146678"/>
                  </a:cubicBezTo>
                  <a:cubicBezTo>
                    <a:pt x="66060" y="2122888"/>
                    <a:pt x="36869" y="2094337"/>
                    <a:pt x="55304" y="2068166"/>
                  </a:cubicBezTo>
                  <a:lnTo>
                    <a:pt x="51749" y="1667628"/>
                  </a:lnTo>
                  <a:cubicBezTo>
                    <a:pt x="59172" y="1613788"/>
                    <a:pt x="45162" y="1555186"/>
                    <a:pt x="102591" y="1548972"/>
                  </a:cubicBezTo>
                  <a:lnTo>
                    <a:pt x="611087" y="1308106"/>
                  </a:lnTo>
                  <a:lnTo>
                    <a:pt x="1289081" y="77011"/>
                  </a:lnTo>
                  <a:cubicBezTo>
                    <a:pt x="1343722" y="54894"/>
                    <a:pt x="1319816" y="5457"/>
                    <a:pt x="1423549" y="416"/>
                  </a:cubicBez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68551" tIns="34275" rIns="34275" bIns="68551" numCol="1" spcCol="0" rtlCol="0" fromWordArt="0" anchor="b" anchorCtr="0" forceAA="0" compatLnSpc="1">
              <a:prstTxWarp prst="textNoShape">
                <a:avLst/>
              </a:prstTxWarp>
              <a:noAutofit/>
            </a:bodyPr>
            <a:lstStyle/>
            <a:p>
              <a:pPr algn="ctr" defTabSz="684846" fontAlgn="base">
                <a:spcBef>
                  <a:spcPct val="0"/>
                </a:spcBef>
                <a:spcAft>
                  <a:spcPct val="0"/>
                </a:spcAft>
                <a:defRPr/>
              </a:pPr>
              <a:endParaRPr lang="en-US" sz="1350" kern="0" spc="-38" dirty="0" err="1">
                <a:solidFill>
                  <a:srgbClr val="000000"/>
                </a:solidFill>
                <a:ea typeface="Segoe UI" pitchFamily="34" charset="0"/>
                <a:cs typeface="Segoe UI" pitchFamily="34" charset="0"/>
              </a:endParaRPr>
            </a:p>
          </p:txBody>
        </p:sp>
        <p:sp>
          <p:nvSpPr>
            <p:cNvPr id="28" name="Frame 5">
              <a:extLst>
                <a:ext uri="{FF2B5EF4-FFF2-40B4-BE49-F238E27FC236}">
                  <a16:creationId xmlns:a16="http://schemas.microsoft.com/office/drawing/2014/main" id="{8B28B732-D114-4982-99B7-2DE43F273D81}"/>
                </a:ext>
              </a:extLst>
            </p:cNvPr>
            <p:cNvSpPr>
              <a:spLocks noChangeAspect="1"/>
            </p:cNvSpPr>
            <p:nvPr/>
          </p:nvSpPr>
          <p:spPr bwMode="auto">
            <a:xfrm>
              <a:off x="2427352" y="-279971"/>
              <a:ext cx="320126" cy="32004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82261" tIns="41131" rIns="41131" bIns="82261" numCol="1" spcCol="0" rtlCol="0" fromWordArt="0" anchor="b" anchorCtr="0" forceAA="0" compatLnSpc="1">
              <a:prstTxWarp prst="textNoShape">
                <a:avLst/>
              </a:prstTxWarp>
              <a:noAutofit/>
            </a:bodyPr>
            <a:lstStyle/>
            <a:p>
              <a:pPr algn="ctr" defTabSz="821816" fontAlgn="base">
                <a:spcBef>
                  <a:spcPct val="0"/>
                </a:spcBef>
                <a:spcAft>
                  <a:spcPct val="0"/>
                </a:spcAft>
                <a:defRPr/>
              </a:pPr>
              <a:endParaRPr lang="en-US" kern="0" spc="-45" dirty="0" err="1">
                <a:solidFill>
                  <a:srgbClr val="000000"/>
                </a:solidFill>
                <a:ea typeface="Segoe UI" pitchFamily="34" charset="0"/>
                <a:cs typeface="Segoe UI" pitchFamily="34" charset="0"/>
              </a:endParaRPr>
            </a:p>
          </p:txBody>
        </p:sp>
      </p:grpSp>
      <p:pic>
        <p:nvPicPr>
          <p:cNvPr id="29" name="Picture 28">
            <a:extLst>
              <a:ext uri="{FF2B5EF4-FFF2-40B4-BE49-F238E27FC236}">
                <a16:creationId xmlns:a16="http://schemas.microsoft.com/office/drawing/2014/main" id="{97D7ED18-5472-456E-95F3-0292BE5C1EB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67368" y="4239971"/>
            <a:ext cx="479992" cy="479992"/>
          </a:xfrm>
          <a:prstGeom prst="rect">
            <a:avLst/>
          </a:prstGeom>
        </p:spPr>
      </p:pic>
      <p:pic>
        <p:nvPicPr>
          <p:cNvPr id="30" name="Picture 2" descr="C:\Users\mitchellg\AppData\Local\Microsoft\Windows\Temporary Internet Files\Content.Outlook\DRES7FCJ\Storage_white (2).png">
            <a:extLst>
              <a:ext uri="{FF2B5EF4-FFF2-40B4-BE49-F238E27FC236}">
                <a16:creationId xmlns:a16="http://schemas.microsoft.com/office/drawing/2014/main" id="{66FF8BD2-5CBE-4111-AA0F-D0F63F74DA81}"/>
              </a:ext>
            </a:extLst>
          </p:cNvPr>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2403486" y="4296274"/>
            <a:ext cx="472432" cy="472432"/>
          </a:xfrm>
          <a:prstGeom prst="rect">
            <a:avLst/>
          </a:prstGeom>
          <a:noFill/>
        </p:spPr>
      </p:pic>
      <p:pic>
        <p:nvPicPr>
          <p:cNvPr id="31" name="Picture 3">
            <a:extLst>
              <a:ext uri="{FF2B5EF4-FFF2-40B4-BE49-F238E27FC236}">
                <a16:creationId xmlns:a16="http://schemas.microsoft.com/office/drawing/2014/main" id="{FC88186A-D858-436E-ADB1-612A0789AEE2}"/>
              </a:ext>
            </a:extLst>
          </p:cNvPr>
          <p:cNvPicPr>
            <a:picLocks noChangeAspect="1"/>
          </p:cNvPicPr>
          <p:nvPr/>
        </p:nvPicPr>
        <p:blipFill>
          <a:blip r:embed="rId9">
            <a:biLevel thresh="25000"/>
            <a:extLst>
              <a:ext uri="{28A0092B-C50C-407E-A947-70E740481C1C}">
                <a14:useLocalDpi xmlns:a14="http://schemas.microsoft.com/office/drawing/2010/main"/>
              </a:ext>
            </a:extLst>
          </a:blip>
          <a:srcRect/>
          <a:stretch>
            <a:fillRect/>
          </a:stretch>
        </p:blipFill>
        <p:spPr bwMode="auto">
          <a:xfrm>
            <a:off x="4765432" y="2586947"/>
            <a:ext cx="423739" cy="44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Picture 6">
            <a:extLst>
              <a:ext uri="{FF2B5EF4-FFF2-40B4-BE49-F238E27FC236}">
                <a16:creationId xmlns:a16="http://schemas.microsoft.com/office/drawing/2014/main" id="{F09A7D87-C0C6-4234-B9A1-F46089C3C93F}"/>
              </a:ext>
            </a:extLst>
          </p:cNvPr>
          <p:cNvPicPr>
            <a:picLocks noChangeAspect="1"/>
          </p:cNvPicPr>
          <p:nvPr/>
        </p:nvPicPr>
        <p:blipFill>
          <a:blip r:embed="rId10">
            <a:biLevel thresh="25000"/>
            <a:extLst>
              <a:ext uri="{28A0092B-C50C-407E-A947-70E740481C1C}">
                <a14:useLocalDpi xmlns:a14="http://schemas.microsoft.com/office/drawing/2010/main"/>
              </a:ext>
            </a:extLst>
          </a:blip>
          <a:srcRect/>
          <a:stretch>
            <a:fillRect/>
          </a:stretch>
        </p:blipFill>
        <p:spPr bwMode="auto">
          <a:xfrm>
            <a:off x="4751471" y="3495925"/>
            <a:ext cx="451665" cy="392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32">
            <a:extLst>
              <a:ext uri="{FF2B5EF4-FFF2-40B4-BE49-F238E27FC236}">
                <a16:creationId xmlns:a16="http://schemas.microsoft.com/office/drawing/2014/main" id="{ECC186FF-356A-46CE-9C92-DEF27AA0685E}"/>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581139" y="4122184"/>
            <a:ext cx="792325" cy="792325"/>
          </a:xfrm>
          <a:prstGeom prst="rect">
            <a:avLst/>
          </a:prstGeom>
        </p:spPr>
      </p:pic>
      <p:sp>
        <p:nvSpPr>
          <p:cNvPr id="34" name="TextBox 33">
            <a:extLst>
              <a:ext uri="{FF2B5EF4-FFF2-40B4-BE49-F238E27FC236}">
                <a16:creationId xmlns:a16="http://schemas.microsoft.com/office/drawing/2014/main" id="{78FAF3E6-3403-4229-9037-637DDD798306}"/>
              </a:ext>
            </a:extLst>
          </p:cNvPr>
          <p:cNvSpPr txBox="1"/>
          <p:nvPr/>
        </p:nvSpPr>
        <p:spPr>
          <a:xfrm>
            <a:off x="4806634" y="4460403"/>
            <a:ext cx="364848" cy="240136"/>
          </a:xfrm>
          <a:prstGeom prst="rect">
            <a:avLst/>
          </a:prstGeom>
          <a:noFill/>
          <a:ln>
            <a:noFill/>
            <a:headEnd type="none" w="med" len="med"/>
            <a:tailEnd type="none" w="med" len="med"/>
          </a:ln>
        </p:spPr>
        <p:txBody>
          <a:bodyPr wrap="square" lIns="0" tIns="0" rIns="0" bIns="0" rtlCol="0">
            <a:spAutoFit/>
          </a:bodyPr>
          <a:lstStyle/>
          <a:p>
            <a:pPr algn="ctr" defTabSz="699385"/>
            <a:r>
              <a:rPr lang="en-US" sz="1530" spc="-30" dirty="0">
                <a:solidFill>
                  <a:srgbClr val="4668C5"/>
                </a:solidFill>
                <a:ea typeface="Segoe UI" pitchFamily="34" charset="0"/>
                <a:cs typeface="Segoe UI" pitchFamily="34" charset="0"/>
              </a:rPr>
              <a:t>{  }</a:t>
            </a:r>
          </a:p>
        </p:txBody>
      </p:sp>
      <p:pic>
        <p:nvPicPr>
          <p:cNvPr id="35" name="Picture 2" descr="C:\Users\mitchellg\AppData\Local\Microsoft\Windows\Temporary Internet Files\Content.Outlook\DRES7FCJ\Storage_white (2).png">
            <a:extLst>
              <a:ext uri="{FF2B5EF4-FFF2-40B4-BE49-F238E27FC236}">
                <a16:creationId xmlns:a16="http://schemas.microsoft.com/office/drawing/2014/main" id="{88296BE9-CDF7-4868-8EE2-6C6BC4BF77AC}"/>
              </a:ext>
            </a:extLst>
          </p:cNvPr>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4741089" y="5216262"/>
            <a:ext cx="472432" cy="472432"/>
          </a:xfrm>
          <a:prstGeom prst="rect">
            <a:avLst/>
          </a:prstGeom>
          <a:noFill/>
        </p:spPr>
      </p:pic>
      <p:pic>
        <p:nvPicPr>
          <p:cNvPr id="36" name="Picture 35">
            <a:extLst>
              <a:ext uri="{FF2B5EF4-FFF2-40B4-BE49-F238E27FC236}">
                <a16:creationId xmlns:a16="http://schemas.microsoft.com/office/drawing/2014/main" id="{91662F2C-6C22-4C25-BD34-5C6B2F9E2BDC}"/>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999293" y="2422120"/>
            <a:ext cx="753850" cy="753850"/>
          </a:xfrm>
          <a:prstGeom prst="rect">
            <a:avLst/>
          </a:prstGeom>
        </p:spPr>
      </p:pic>
      <p:pic>
        <p:nvPicPr>
          <p:cNvPr id="37" name="Picture 11">
            <a:extLst>
              <a:ext uri="{FF2B5EF4-FFF2-40B4-BE49-F238E27FC236}">
                <a16:creationId xmlns:a16="http://schemas.microsoft.com/office/drawing/2014/main" id="{E9C4B82F-C1D3-41F1-B768-D973DED17B25}"/>
              </a:ext>
            </a:extLst>
          </p:cNvPr>
          <p:cNvPicPr>
            <a:picLocks noChangeAspect="1"/>
          </p:cNvPicPr>
          <p:nvPr/>
        </p:nvPicPr>
        <p:blipFill>
          <a:blip r:embed="rId13">
            <a:biLevel thresh="25000"/>
            <a:extLst>
              <a:ext uri="{28A0092B-C50C-407E-A947-70E740481C1C}">
                <a14:useLocalDpi xmlns:a14="http://schemas.microsoft.com/office/drawing/2010/main"/>
              </a:ext>
            </a:extLst>
          </a:blip>
          <a:srcRect/>
          <a:stretch>
            <a:fillRect/>
          </a:stretch>
        </p:blipFill>
        <p:spPr bwMode="auto">
          <a:xfrm>
            <a:off x="9546356" y="2597268"/>
            <a:ext cx="429810" cy="426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73">
            <a:extLst>
              <a:ext uri="{FF2B5EF4-FFF2-40B4-BE49-F238E27FC236}">
                <a16:creationId xmlns:a16="http://schemas.microsoft.com/office/drawing/2014/main" id="{7726DA44-0A53-4B2D-95D0-DDBF9B900FE5}"/>
              </a:ext>
            </a:extLst>
          </p:cNvPr>
          <p:cNvPicPr>
            <a:picLocks noChangeAspect="1"/>
          </p:cNvPicPr>
          <p:nvPr/>
        </p:nvPicPr>
        <p:blipFill>
          <a:blip r:embed="rId14">
            <a:biLevel thresh="25000"/>
            <a:extLst>
              <a:ext uri="{28A0092B-C50C-407E-A947-70E740481C1C}">
                <a14:useLocalDpi xmlns:a14="http://schemas.microsoft.com/office/drawing/2010/main"/>
              </a:ext>
            </a:extLst>
          </a:blip>
          <a:srcRect/>
          <a:stretch>
            <a:fillRect/>
          </a:stretch>
        </p:blipFill>
        <p:spPr bwMode="auto">
          <a:xfrm>
            <a:off x="9622238" y="5227895"/>
            <a:ext cx="278041" cy="449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38">
            <a:extLst>
              <a:ext uri="{FF2B5EF4-FFF2-40B4-BE49-F238E27FC236}">
                <a16:creationId xmlns:a16="http://schemas.microsoft.com/office/drawing/2014/main" id="{15797A9F-1EE6-4A46-9FBA-3EB760374550}"/>
              </a:ext>
            </a:extLst>
          </p:cNvPr>
          <p:cNvPicPr>
            <a:picLocks noChangeAspect="1"/>
          </p:cNvPicPr>
          <p:nvPr/>
        </p:nvPicPr>
        <p:blipFill>
          <a:blip r:embed="rId15" cstate="screen">
            <a:biLevel thresh="25000"/>
            <a:extLst>
              <a:ext uri="{28A0092B-C50C-407E-A947-70E740481C1C}">
                <a14:useLocalDpi xmlns:a14="http://schemas.microsoft.com/office/drawing/2010/main"/>
              </a:ext>
            </a:extLst>
          </a:blip>
          <a:stretch>
            <a:fillRect/>
          </a:stretch>
        </p:blipFill>
        <p:spPr>
          <a:xfrm>
            <a:off x="9586075" y="4379616"/>
            <a:ext cx="373876" cy="373876"/>
          </a:xfrm>
          <a:prstGeom prst="rect">
            <a:avLst/>
          </a:prstGeom>
        </p:spPr>
      </p:pic>
      <p:pic>
        <p:nvPicPr>
          <p:cNvPr id="40" name="Picture 39">
            <a:extLst>
              <a:ext uri="{FF2B5EF4-FFF2-40B4-BE49-F238E27FC236}">
                <a16:creationId xmlns:a16="http://schemas.microsoft.com/office/drawing/2014/main" id="{2A7C847A-2583-4DB1-8934-44EE0738ED93}"/>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t="-1" r="-9452" b="-4026"/>
          <a:stretch/>
        </p:blipFill>
        <p:spPr>
          <a:xfrm>
            <a:off x="9567104" y="3489832"/>
            <a:ext cx="392849" cy="381240"/>
          </a:xfrm>
          <a:prstGeom prst="rect">
            <a:avLst/>
          </a:prstGeom>
        </p:spPr>
      </p:pic>
      <p:pic>
        <p:nvPicPr>
          <p:cNvPr id="41" name="Picture 40">
            <a:extLst>
              <a:ext uri="{FF2B5EF4-FFF2-40B4-BE49-F238E27FC236}">
                <a16:creationId xmlns:a16="http://schemas.microsoft.com/office/drawing/2014/main" id="{B094AED5-209D-4312-8867-19C39E6A3FA6}"/>
              </a:ext>
            </a:extLst>
          </p:cNvPr>
          <p:cNvPicPr>
            <a:picLocks noChangeAspect="1"/>
          </p:cNvPicPr>
          <p:nvPr/>
        </p:nvPicPr>
        <p:blipFill>
          <a:blip r:embed="rId17" cstate="screen">
            <a:biLevel thresh="25000"/>
            <a:extLst>
              <a:ext uri="{28A0092B-C50C-407E-A947-70E740481C1C}">
                <a14:useLocalDpi xmlns:a14="http://schemas.microsoft.com/office/drawing/2010/main"/>
              </a:ext>
            </a:extLst>
          </a:blip>
          <a:stretch>
            <a:fillRect/>
          </a:stretch>
        </p:blipFill>
        <p:spPr>
          <a:xfrm>
            <a:off x="7136458" y="5170033"/>
            <a:ext cx="479521" cy="479521"/>
          </a:xfrm>
          <a:prstGeom prst="rect">
            <a:avLst/>
          </a:prstGeom>
        </p:spPr>
      </p:pic>
      <p:pic>
        <p:nvPicPr>
          <p:cNvPr id="42" name="Picture 41">
            <a:extLst>
              <a:ext uri="{FF2B5EF4-FFF2-40B4-BE49-F238E27FC236}">
                <a16:creationId xmlns:a16="http://schemas.microsoft.com/office/drawing/2014/main" id="{84B9B24C-EB22-4206-A92B-11C84E35B6B9}"/>
              </a:ext>
            </a:extLst>
          </p:cNvPr>
          <p:cNvPicPr>
            <a:picLocks noChangeAspect="1"/>
          </p:cNvPicPr>
          <p:nvPr/>
        </p:nvPicPr>
        <p:blipFill>
          <a:blip r:embed="rId18" cstate="screen">
            <a:biLevel thresh="25000"/>
            <a:extLst>
              <a:ext uri="{28A0092B-C50C-407E-A947-70E740481C1C}">
                <a14:useLocalDpi xmlns:a14="http://schemas.microsoft.com/office/drawing/2010/main"/>
              </a:ext>
            </a:extLst>
          </a:blip>
          <a:stretch>
            <a:fillRect/>
          </a:stretch>
        </p:blipFill>
        <p:spPr>
          <a:xfrm>
            <a:off x="2500940" y="3488623"/>
            <a:ext cx="406778" cy="406778"/>
          </a:xfrm>
          <a:prstGeom prst="rect">
            <a:avLst/>
          </a:prstGeom>
        </p:spPr>
      </p:pic>
      <p:pic>
        <p:nvPicPr>
          <p:cNvPr id="43" name="Picture 42">
            <a:extLst>
              <a:ext uri="{FF2B5EF4-FFF2-40B4-BE49-F238E27FC236}">
                <a16:creationId xmlns:a16="http://schemas.microsoft.com/office/drawing/2014/main" id="{81DCF33F-68EB-4552-B4B8-D84546C01FBF}"/>
              </a:ext>
            </a:extLst>
          </p:cNvPr>
          <p:cNvPicPr>
            <a:picLocks noChangeAspect="1"/>
          </p:cNvPicPr>
          <p:nvPr/>
        </p:nvPicPr>
        <p:blipFill>
          <a:blip r:embed="rId19" cstate="screen">
            <a:biLevel thresh="25000"/>
            <a:extLst>
              <a:ext uri="{28A0092B-C50C-407E-A947-70E740481C1C}">
                <a14:useLocalDpi xmlns:a14="http://schemas.microsoft.com/office/drawing/2010/main"/>
              </a:ext>
            </a:extLst>
          </a:blip>
          <a:stretch>
            <a:fillRect/>
          </a:stretch>
        </p:blipFill>
        <p:spPr>
          <a:xfrm>
            <a:off x="9546354" y="6087722"/>
            <a:ext cx="488038" cy="488038"/>
          </a:xfrm>
          <a:prstGeom prst="rect">
            <a:avLst/>
          </a:prstGeom>
        </p:spPr>
      </p:pic>
      <p:pic>
        <p:nvPicPr>
          <p:cNvPr id="44" name="Picture 43">
            <a:extLst>
              <a:ext uri="{FF2B5EF4-FFF2-40B4-BE49-F238E27FC236}">
                <a16:creationId xmlns:a16="http://schemas.microsoft.com/office/drawing/2014/main" id="{F16979C0-6871-434C-9672-17673E6310CA}"/>
              </a:ext>
            </a:extLst>
          </p:cNvPr>
          <p:cNvPicPr>
            <a:picLocks noChangeAspect="1"/>
          </p:cNvPicPr>
          <p:nvPr/>
        </p:nvPicPr>
        <p:blipFill>
          <a:blip r:embed="rId20"/>
          <a:stretch>
            <a:fillRect/>
          </a:stretch>
        </p:blipFill>
        <p:spPr>
          <a:xfrm>
            <a:off x="7111309" y="3382186"/>
            <a:ext cx="529819" cy="529819"/>
          </a:xfrm>
          <a:prstGeom prst="rect">
            <a:avLst/>
          </a:prstGeom>
        </p:spPr>
      </p:pic>
      <p:pic>
        <p:nvPicPr>
          <p:cNvPr id="45" name="Picture 44">
            <a:extLst>
              <a:ext uri="{FF2B5EF4-FFF2-40B4-BE49-F238E27FC236}">
                <a16:creationId xmlns:a16="http://schemas.microsoft.com/office/drawing/2014/main" id="{CB7E46EA-7A28-4E7E-872E-F196B2D4EFF6}"/>
              </a:ext>
            </a:extLst>
          </p:cNvPr>
          <p:cNvPicPr>
            <a:picLocks noChangeAspect="1"/>
          </p:cNvPicPr>
          <p:nvPr/>
        </p:nvPicPr>
        <p:blipFill>
          <a:blip r:embed="rId21"/>
          <a:stretch>
            <a:fillRect/>
          </a:stretch>
        </p:blipFill>
        <p:spPr>
          <a:xfrm>
            <a:off x="2335186" y="2577598"/>
            <a:ext cx="557267" cy="557267"/>
          </a:xfrm>
          <a:prstGeom prst="rect">
            <a:avLst/>
          </a:prstGeom>
        </p:spPr>
      </p:pic>
      <p:pic>
        <p:nvPicPr>
          <p:cNvPr id="46" name="Picture 45">
            <a:extLst>
              <a:ext uri="{FF2B5EF4-FFF2-40B4-BE49-F238E27FC236}">
                <a16:creationId xmlns:a16="http://schemas.microsoft.com/office/drawing/2014/main" id="{09956F61-1C67-486D-BC37-D41BE84CC02A}"/>
              </a:ext>
            </a:extLst>
          </p:cNvPr>
          <p:cNvPicPr>
            <a:picLocks noChangeAspect="1"/>
          </p:cNvPicPr>
          <p:nvPr/>
        </p:nvPicPr>
        <p:blipFill>
          <a:blip r:embed="rId22"/>
          <a:stretch>
            <a:fillRect/>
          </a:stretch>
        </p:blipFill>
        <p:spPr>
          <a:xfrm>
            <a:off x="7070913" y="4162475"/>
            <a:ext cx="610610" cy="610610"/>
          </a:xfrm>
          <a:prstGeom prst="rect">
            <a:avLst/>
          </a:prstGeom>
        </p:spPr>
      </p:pic>
      <p:sp>
        <p:nvSpPr>
          <p:cNvPr id="47" name="Rectangle 46">
            <a:extLst>
              <a:ext uri="{FF2B5EF4-FFF2-40B4-BE49-F238E27FC236}">
                <a16:creationId xmlns:a16="http://schemas.microsoft.com/office/drawing/2014/main" id="{C71F563E-6889-4176-962E-0A671370310A}"/>
              </a:ext>
            </a:extLst>
          </p:cNvPr>
          <p:cNvSpPr/>
          <p:nvPr/>
        </p:nvSpPr>
        <p:spPr bwMode="auto">
          <a:xfrm>
            <a:off x="666543" y="4873767"/>
            <a:ext cx="3962400" cy="1930594"/>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48" name="Rectangle 47">
            <a:extLst>
              <a:ext uri="{FF2B5EF4-FFF2-40B4-BE49-F238E27FC236}">
                <a16:creationId xmlns:a16="http://schemas.microsoft.com/office/drawing/2014/main" id="{4703800D-1CF1-4CE3-A2E7-F7F82DACDF09}"/>
              </a:ext>
            </a:extLst>
          </p:cNvPr>
          <p:cNvSpPr/>
          <p:nvPr/>
        </p:nvSpPr>
        <p:spPr bwMode="auto">
          <a:xfrm>
            <a:off x="4019343" y="5830528"/>
            <a:ext cx="3922146" cy="1127637"/>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23410647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1+#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29"/>
                                        </p:tgtEl>
                                        <p:attrNameLst>
                                          <p:attrName>style.visibility</p:attrName>
                                        </p:attrNameLst>
                                      </p:cBhvr>
                                      <p:to>
                                        <p:strVal val="visible"/>
                                      </p:to>
                                    </p:set>
                                    <p:anim calcmode="lin" valueType="num">
                                      <p:cBhvr additive="base">
                                        <p:cTn id="11" dur="500" fill="hold"/>
                                        <p:tgtEl>
                                          <p:spTgt spid="29"/>
                                        </p:tgtEl>
                                        <p:attrNameLst>
                                          <p:attrName>ppt_x</p:attrName>
                                        </p:attrNameLst>
                                      </p:cBhvr>
                                      <p:tavLst>
                                        <p:tav tm="0">
                                          <p:val>
                                            <p:strVal val="1+#ppt_w/2"/>
                                          </p:val>
                                        </p:tav>
                                        <p:tav tm="100000">
                                          <p:val>
                                            <p:strVal val="#ppt_x"/>
                                          </p:val>
                                        </p:tav>
                                      </p:tavLst>
                                    </p:anim>
                                    <p:anim calcmode="lin" valueType="num">
                                      <p:cBhvr additive="base">
                                        <p:cTn id="12" dur="500" fill="hold"/>
                                        <p:tgtEl>
                                          <p:spTgt spid="29"/>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30"/>
                                        </p:tgtEl>
                                        <p:attrNameLst>
                                          <p:attrName>style.visibility</p:attrName>
                                        </p:attrNameLst>
                                      </p:cBhvr>
                                      <p:to>
                                        <p:strVal val="visible"/>
                                      </p:to>
                                    </p:set>
                                    <p:anim calcmode="lin" valueType="num">
                                      <p:cBhvr additive="base">
                                        <p:cTn id="15" dur="500" fill="hold"/>
                                        <p:tgtEl>
                                          <p:spTgt spid="30"/>
                                        </p:tgtEl>
                                        <p:attrNameLst>
                                          <p:attrName>ppt_x</p:attrName>
                                        </p:attrNameLst>
                                      </p:cBhvr>
                                      <p:tavLst>
                                        <p:tav tm="0">
                                          <p:val>
                                            <p:strVal val="1+#ppt_w/2"/>
                                          </p:val>
                                        </p:tav>
                                        <p:tav tm="100000">
                                          <p:val>
                                            <p:strVal val="#ppt_x"/>
                                          </p:val>
                                        </p:tav>
                                      </p:tavLst>
                                    </p:anim>
                                    <p:anim calcmode="lin" valueType="num">
                                      <p:cBhvr additive="base">
                                        <p:cTn id="16" dur="500" fill="hold"/>
                                        <p:tgtEl>
                                          <p:spTgt spid="30"/>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31"/>
                                        </p:tgtEl>
                                        <p:attrNameLst>
                                          <p:attrName>style.visibility</p:attrName>
                                        </p:attrNameLst>
                                      </p:cBhvr>
                                      <p:to>
                                        <p:strVal val="visible"/>
                                      </p:to>
                                    </p:set>
                                    <p:anim calcmode="lin" valueType="num">
                                      <p:cBhvr additive="base">
                                        <p:cTn id="19" dur="500" fill="hold"/>
                                        <p:tgtEl>
                                          <p:spTgt spid="31"/>
                                        </p:tgtEl>
                                        <p:attrNameLst>
                                          <p:attrName>ppt_x</p:attrName>
                                        </p:attrNameLst>
                                      </p:cBhvr>
                                      <p:tavLst>
                                        <p:tav tm="0">
                                          <p:val>
                                            <p:strVal val="1+#ppt_w/2"/>
                                          </p:val>
                                        </p:tav>
                                        <p:tav tm="100000">
                                          <p:val>
                                            <p:strVal val="#ppt_x"/>
                                          </p:val>
                                        </p:tav>
                                      </p:tavLst>
                                    </p:anim>
                                    <p:anim calcmode="lin" valueType="num">
                                      <p:cBhvr additive="base">
                                        <p:cTn id="20" dur="500" fill="hold"/>
                                        <p:tgtEl>
                                          <p:spTgt spid="31"/>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32"/>
                                        </p:tgtEl>
                                        <p:attrNameLst>
                                          <p:attrName>style.visibility</p:attrName>
                                        </p:attrNameLst>
                                      </p:cBhvr>
                                      <p:to>
                                        <p:strVal val="visible"/>
                                      </p:to>
                                    </p:set>
                                    <p:anim calcmode="lin" valueType="num">
                                      <p:cBhvr additive="base">
                                        <p:cTn id="23" dur="500" fill="hold"/>
                                        <p:tgtEl>
                                          <p:spTgt spid="32"/>
                                        </p:tgtEl>
                                        <p:attrNameLst>
                                          <p:attrName>ppt_x</p:attrName>
                                        </p:attrNameLst>
                                      </p:cBhvr>
                                      <p:tavLst>
                                        <p:tav tm="0">
                                          <p:val>
                                            <p:strVal val="1+#ppt_w/2"/>
                                          </p:val>
                                        </p:tav>
                                        <p:tav tm="100000">
                                          <p:val>
                                            <p:strVal val="#ppt_x"/>
                                          </p:val>
                                        </p:tav>
                                      </p:tavLst>
                                    </p:anim>
                                    <p:anim calcmode="lin" valueType="num">
                                      <p:cBhvr additive="base">
                                        <p:cTn id="24" dur="500" fill="hold"/>
                                        <p:tgtEl>
                                          <p:spTgt spid="32"/>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0"/>
                                  </p:stCondLst>
                                  <p:childTnLst>
                                    <p:set>
                                      <p:cBhvr>
                                        <p:cTn id="26" dur="1" fill="hold">
                                          <p:stCondLst>
                                            <p:cond delay="0"/>
                                          </p:stCondLst>
                                        </p:cTn>
                                        <p:tgtEl>
                                          <p:spTgt spid="34"/>
                                        </p:tgtEl>
                                        <p:attrNameLst>
                                          <p:attrName>style.visibility</p:attrName>
                                        </p:attrNameLst>
                                      </p:cBhvr>
                                      <p:to>
                                        <p:strVal val="visible"/>
                                      </p:to>
                                    </p:set>
                                    <p:anim calcmode="lin" valueType="num">
                                      <p:cBhvr additive="base">
                                        <p:cTn id="27" dur="500" fill="hold"/>
                                        <p:tgtEl>
                                          <p:spTgt spid="34"/>
                                        </p:tgtEl>
                                        <p:attrNameLst>
                                          <p:attrName>ppt_x</p:attrName>
                                        </p:attrNameLst>
                                      </p:cBhvr>
                                      <p:tavLst>
                                        <p:tav tm="0">
                                          <p:val>
                                            <p:strVal val="1+#ppt_w/2"/>
                                          </p:val>
                                        </p:tav>
                                        <p:tav tm="100000">
                                          <p:val>
                                            <p:strVal val="#ppt_x"/>
                                          </p:val>
                                        </p:tav>
                                      </p:tavLst>
                                    </p:anim>
                                    <p:anim calcmode="lin" valueType="num">
                                      <p:cBhvr additive="base">
                                        <p:cTn id="28" dur="500" fill="hold"/>
                                        <p:tgtEl>
                                          <p:spTgt spid="34"/>
                                        </p:tgtEl>
                                        <p:attrNameLst>
                                          <p:attrName>ppt_y</p:attrName>
                                        </p:attrNameLst>
                                      </p:cBhvr>
                                      <p:tavLst>
                                        <p:tav tm="0">
                                          <p:val>
                                            <p:strVal val="#ppt_y"/>
                                          </p:val>
                                        </p:tav>
                                        <p:tav tm="100000">
                                          <p:val>
                                            <p:strVal val="#ppt_y"/>
                                          </p:val>
                                        </p:tav>
                                      </p:tavLst>
                                    </p:anim>
                                  </p:childTnLst>
                                </p:cTn>
                              </p:par>
                              <p:par>
                                <p:cTn id="29" presetID="2" presetClass="entr" presetSubtype="2" fill="hold" nodeType="withEffect">
                                  <p:stCondLst>
                                    <p:cond delay="0"/>
                                  </p:stCondLst>
                                  <p:childTnLst>
                                    <p:set>
                                      <p:cBhvr>
                                        <p:cTn id="30" dur="1" fill="hold">
                                          <p:stCondLst>
                                            <p:cond delay="0"/>
                                          </p:stCondLst>
                                        </p:cTn>
                                        <p:tgtEl>
                                          <p:spTgt spid="36"/>
                                        </p:tgtEl>
                                        <p:attrNameLst>
                                          <p:attrName>style.visibility</p:attrName>
                                        </p:attrNameLst>
                                      </p:cBhvr>
                                      <p:to>
                                        <p:strVal val="visible"/>
                                      </p:to>
                                    </p:set>
                                    <p:anim calcmode="lin" valueType="num">
                                      <p:cBhvr additive="base">
                                        <p:cTn id="31" dur="500" fill="hold"/>
                                        <p:tgtEl>
                                          <p:spTgt spid="36"/>
                                        </p:tgtEl>
                                        <p:attrNameLst>
                                          <p:attrName>ppt_x</p:attrName>
                                        </p:attrNameLst>
                                      </p:cBhvr>
                                      <p:tavLst>
                                        <p:tav tm="0">
                                          <p:val>
                                            <p:strVal val="1+#ppt_w/2"/>
                                          </p:val>
                                        </p:tav>
                                        <p:tav tm="100000">
                                          <p:val>
                                            <p:strVal val="#ppt_x"/>
                                          </p:val>
                                        </p:tav>
                                      </p:tavLst>
                                    </p:anim>
                                    <p:anim calcmode="lin" valueType="num">
                                      <p:cBhvr additive="base">
                                        <p:cTn id="32" dur="500" fill="hold"/>
                                        <p:tgtEl>
                                          <p:spTgt spid="36"/>
                                        </p:tgtEl>
                                        <p:attrNameLst>
                                          <p:attrName>ppt_y</p:attrName>
                                        </p:attrNameLst>
                                      </p:cBhvr>
                                      <p:tavLst>
                                        <p:tav tm="0">
                                          <p:val>
                                            <p:strVal val="#ppt_y"/>
                                          </p:val>
                                        </p:tav>
                                        <p:tav tm="100000">
                                          <p:val>
                                            <p:strVal val="#ppt_y"/>
                                          </p:val>
                                        </p:tav>
                                      </p:tavLst>
                                    </p:anim>
                                  </p:childTnLst>
                                </p:cTn>
                              </p:par>
                              <p:par>
                                <p:cTn id="33" presetID="2" presetClass="entr" presetSubtype="2" fill="hold" nodeType="withEffect">
                                  <p:stCondLst>
                                    <p:cond delay="0"/>
                                  </p:stCondLst>
                                  <p:childTnLst>
                                    <p:set>
                                      <p:cBhvr>
                                        <p:cTn id="34" dur="1" fill="hold">
                                          <p:stCondLst>
                                            <p:cond delay="0"/>
                                          </p:stCondLst>
                                        </p:cTn>
                                        <p:tgtEl>
                                          <p:spTgt spid="37"/>
                                        </p:tgtEl>
                                        <p:attrNameLst>
                                          <p:attrName>style.visibility</p:attrName>
                                        </p:attrNameLst>
                                      </p:cBhvr>
                                      <p:to>
                                        <p:strVal val="visible"/>
                                      </p:to>
                                    </p:set>
                                    <p:anim calcmode="lin" valueType="num">
                                      <p:cBhvr additive="base">
                                        <p:cTn id="35" dur="500" fill="hold"/>
                                        <p:tgtEl>
                                          <p:spTgt spid="37"/>
                                        </p:tgtEl>
                                        <p:attrNameLst>
                                          <p:attrName>ppt_x</p:attrName>
                                        </p:attrNameLst>
                                      </p:cBhvr>
                                      <p:tavLst>
                                        <p:tav tm="0">
                                          <p:val>
                                            <p:strVal val="1+#ppt_w/2"/>
                                          </p:val>
                                        </p:tav>
                                        <p:tav tm="100000">
                                          <p:val>
                                            <p:strVal val="#ppt_x"/>
                                          </p:val>
                                        </p:tav>
                                      </p:tavLst>
                                    </p:anim>
                                    <p:anim calcmode="lin" valueType="num">
                                      <p:cBhvr additive="base">
                                        <p:cTn id="36" dur="500" fill="hold"/>
                                        <p:tgtEl>
                                          <p:spTgt spid="37"/>
                                        </p:tgtEl>
                                        <p:attrNameLst>
                                          <p:attrName>ppt_y</p:attrName>
                                        </p:attrNameLst>
                                      </p:cBhvr>
                                      <p:tavLst>
                                        <p:tav tm="0">
                                          <p:val>
                                            <p:strVal val="#ppt_y"/>
                                          </p:val>
                                        </p:tav>
                                        <p:tav tm="100000">
                                          <p:val>
                                            <p:strVal val="#ppt_y"/>
                                          </p:val>
                                        </p:tav>
                                      </p:tavLst>
                                    </p:anim>
                                  </p:childTnLst>
                                </p:cTn>
                              </p:par>
                              <p:par>
                                <p:cTn id="37" presetID="2" presetClass="entr" presetSubtype="2" fill="hold" nodeType="withEffect">
                                  <p:stCondLst>
                                    <p:cond delay="0"/>
                                  </p:stCondLst>
                                  <p:childTnLst>
                                    <p:set>
                                      <p:cBhvr>
                                        <p:cTn id="38" dur="1" fill="hold">
                                          <p:stCondLst>
                                            <p:cond delay="0"/>
                                          </p:stCondLst>
                                        </p:cTn>
                                        <p:tgtEl>
                                          <p:spTgt spid="38"/>
                                        </p:tgtEl>
                                        <p:attrNameLst>
                                          <p:attrName>style.visibility</p:attrName>
                                        </p:attrNameLst>
                                      </p:cBhvr>
                                      <p:to>
                                        <p:strVal val="visible"/>
                                      </p:to>
                                    </p:set>
                                    <p:anim calcmode="lin" valueType="num">
                                      <p:cBhvr additive="base">
                                        <p:cTn id="39" dur="500" fill="hold"/>
                                        <p:tgtEl>
                                          <p:spTgt spid="38"/>
                                        </p:tgtEl>
                                        <p:attrNameLst>
                                          <p:attrName>ppt_x</p:attrName>
                                        </p:attrNameLst>
                                      </p:cBhvr>
                                      <p:tavLst>
                                        <p:tav tm="0">
                                          <p:val>
                                            <p:strVal val="1+#ppt_w/2"/>
                                          </p:val>
                                        </p:tav>
                                        <p:tav tm="100000">
                                          <p:val>
                                            <p:strVal val="#ppt_x"/>
                                          </p:val>
                                        </p:tav>
                                      </p:tavLst>
                                    </p:anim>
                                    <p:anim calcmode="lin" valueType="num">
                                      <p:cBhvr additive="base">
                                        <p:cTn id="40" dur="500" fill="hold"/>
                                        <p:tgtEl>
                                          <p:spTgt spid="38"/>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39"/>
                                        </p:tgtEl>
                                        <p:attrNameLst>
                                          <p:attrName>style.visibility</p:attrName>
                                        </p:attrNameLst>
                                      </p:cBhvr>
                                      <p:to>
                                        <p:strVal val="visible"/>
                                      </p:to>
                                    </p:set>
                                    <p:anim calcmode="lin" valueType="num">
                                      <p:cBhvr additive="base">
                                        <p:cTn id="43" dur="500" fill="hold"/>
                                        <p:tgtEl>
                                          <p:spTgt spid="39"/>
                                        </p:tgtEl>
                                        <p:attrNameLst>
                                          <p:attrName>ppt_x</p:attrName>
                                        </p:attrNameLst>
                                      </p:cBhvr>
                                      <p:tavLst>
                                        <p:tav tm="0">
                                          <p:val>
                                            <p:strVal val="1+#ppt_w/2"/>
                                          </p:val>
                                        </p:tav>
                                        <p:tav tm="100000">
                                          <p:val>
                                            <p:strVal val="#ppt_x"/>
                                          </p:val>
                                        </p:tav>
                                      </p:tavLst>
                                    </p:anim>
                                    <p:anim calcmode="lin" valueType="num">
                                      <p:cBhvr additive="base">
                                        <p:cTn id="44" dur="500" fill="hold"/>
                                        <p:tgtEl>
                                          <p:spTgt spid="39"/>
                                        </p:tgtEl>
                                        <p:attrNameLst>
                                          <p:attrName>ppt_y</p:attrName>
                                        </p:attrNameLst>
                                      </p:cBhvr>
                                      <p:tavLst>
                                        <p:tav tm="0">
                                          <p:val>
                                            <p:strVal val="#ppt_y"/>
                                          </p:val>
                                        </p:tav>
                                        <p:tav tm="100000">
                                          <p:val>
                                            <p:strVal val="#ppt_y"/>
                                          </p:val>
                                        </p:tav>
                                      </p:tavLst>
                                    </p:anim>
                                  </p:childTnLst>
                                </p:cTn>
                              </p:par>
                              <p:par>
                                <p:cTn id="45" presetID="2" presetClass="entr" presetSubtype="2" fill="hold" nodeType="withEffect">
                                  <p:stCondLst>
                                    <p:cond delay="0"/>
                                  </p:stCondLst>
                                  <p:childTnLst>
                                    <p:set>
                                      <p:cBhvr>
                                        <p:cTn id="46" dur="1" fill="hold">
                                          <p:stCondLst>
                                            <p:cond delay="0"/>
                                          </p:stCondLst>
                                        </p:cTn>
                                        <p:tgtEl>
                                          <p:spTgt spid="40"/>
                                        </p:tgtEl>
                                        <p:attrNameLst>
                                          <p:attrName>style.visibility</p:attrName>
                                        </p:attrNameLst>
                                      </p:cBhvr>
                                      <p:to>
                                        <p:strVal val="visible"/>
                                      </p:to>
                                    </p:set>
                                    <p:anim calcmode="lin" valueType="num">
                                      <p:cBhvr additive="base">
                                        <p:cTn id="47" dur="500" fill="hold"/>
                                        <p:tgtEl>
                                          <p:spTgt spid="40"/>
                                        </p:tgtEl>
                                        <p:attrNameLst>
                                          <p:attrName>ppt_x</p:attrName>
                                        </p:attrNameLst>
                                      </p:cBhvr>
                                      <p:tavLst>
                                        <p:tav tm="0">
                                          <p:val>
                                            <p:strVal val="1+#ppt_w/2"/>
                                          </p:val>
                                        </p:tav>
                                        <p:tav tm="100000">
                                          <p:val>
                                            <p:strVal val="#ppt_x"/>
                                          </p:val>
                                        </p:tav>
                                      </p:tavLst>
                                    </p:anim>
                                    <p:anim calcmode="lin" valueType="num">
                                      <p:cBhvr additive="base">
                                        <p:cTn id="48" dur="500" fill="hold"/>
                                        <p:tgtEl>
                                          <p:spTgt spid="40"/>
                                        </p:tgtEl>
                                        <p:attrNameLst>
                                          <p:attrName>ppt_y</p:attrName>
                                        </p:attrNameLst>
                                      </p:cBhvr>
                                      <p:tavLst>
                                        <p:tav tm="0">
                                          <p:val>
                                            <p:strVal val="#ppt_y"/>
                                          </p:val>
                                        </p:tav>
                                        <p:tav tm="100000">
                                          <p:val>
                                            <p:strVal val="#ppt_y"/>
                                          </p:val>
                                        </p:tav>
                                      </p:tavLst>
                                    </p:anim>
                                  </p:childTnLst>
                                </p:cTn>
                              </p:par>
                              <p:par>
                                <p:cTn id="49" presetID="2" presetClass="entr" presetSubtype="2" fill="hold" nodeType="withEffect">
                                  <p:stCondLst>
                                    <p:cond delay="0"/>
                                  </p:stCondLst>
                                  <p:childTnLst>
                                    <p:set>
                                      <p:cBhvr>
                                        <p:cTn id="50" dur="1" fill="hold">
                                          <p:stCondLst>
                                            <p:cond delay="0"/>
                                          </p:stCondLst>
                                        </p:cTn>
                                        <p:tgtEl>
                                          <p:spTgt spid="26"/>
                                        </p:tgtEl>
                                        <p:attrNameLst>
                                          <p:attrName>style.visibility</p:attrName>
                                        </p:attrNameLst>
                                      </p:cBhvr>
                                      <p:to>
                                        <p:strVal val="visible"/>
                                      </p:to>
                                    </p:set>
                                    <p:anim calcmode="lin" valueType="num">
                                      <p:cBhvr additive="base">
                                        <p:cTn id="51" dur="500" fill="hold"/>
                                        <p:tgtEl>
                                          <p:spTgt spid="26"/>
                                        </p:tgtEl>
                                        <p:attrNameLst>
                                          <p:attrName>ppt_x</p:attrName>
                                        </p:attrNameLst>
                                      </p:cBhvr>
                                      <p:tavLst>
                                        <p:tav tm="0">
                                          <p:val>
                                            <p:strVal val="1+#ppt_w/2"/>
                                          </p:val>
                                        </p:tav>
                                        <p:tav tm="100000">
                                          <p:val>
                                            <p:strVal val="#ppt_x"/>
                                          </p:val>
                                        </p:tav>
                                      </p:tavLst>
                                    </p:anim>
                                    <p:anim calcmode="lin" valueType="num">
                                      <p:cBhvr additive="base">
                                        <p:cTn id="52" dur="500" fill="hold"/>
                                        <p:tgtEl>
                                          <p:spTgt spid="26"/>
                                        </p:tgtEl>
                                        <p:attrNameLst>
                                          <p:attrName>ppt_y</p:attrName>
                                        </p:attrNameLst>
                                      </p:cBhvr>
                                      <p:tavLst>
                                        <p:tav tm="0">
                                          <p:val>
                                            <p:strVal val="#ppt_y"/>
                                          </p:val>
                                        </p:tav>
                                        <p:tav tm="100000">
                                          <p:val>
                                            <p:strVal val="#ppt_y"/>
                                          </p:val>
                                        </p:tav>
                                      </p:tavLst>
                                    </p:anim>
                                  </p:childTnLst>
                                </p:cTn>
                              </p:par>
                              <p:par>
                                <p:cTn id="53" presetID="2" presetClass="entr" presetSubtype="2" fill="hold" nodeType="withEffect">
                                  <p:stCondLst>
                                    <p:cond delay="0"/>
                                  </p:stCondLst>
                                  <p:childTnLst>
                                    <p:set>
                                      <p:cBhvr>
                                        <p:cTn id="54" dur="1" fill="hold">
                                          <p:stCondLst>
                                            <p:cond delay="0"/>
                                          </p:stCondLst>
                                        </p:cTn>
                                        <p:tgtEl>
                                          <p:spTgt spid="19"/>
                                        </p:tgtEl>
                                        <p:attrNameLst>
                                          <p:attrName>style.visibility</p:attrName>
                                        </p:attrNameLst>
                                      </p:cBhvr>
                                      <p:to>
                                        <p:strVal val="visible"/>
                                      </p:to>
                                    </p:set>
                                    <p:anim calcmode="lin" valueType="num">
                                      <p:cBhvr additive="base">
                                        <p:cTn id="55" dur="500" fill="hold"/>
                                        <p:tgtEl>
                                          <p:spTgt spid="19"/>
                                        </p:tgtEl>
                                        <p:attrNameLst>
                                          <p:attrName>ppt_x</p:attrName>
                                        </p:attrNameLst>
                                      </p:cBhvr>
                                      <p:tavLst>
                                        <p:tav tm="0">
                                          <p:val>
                                            <p:strVal val="1+#ppt_w/2"/>
                                          </p:val>
                                        </p:tav>
                                        <p:tav tm="100000">
                                          <p:val>
                                            <p:strVal val="#ppt_x"/>
                                          </p:val>
                                        </p:tav>
                                      </p:tavLst>
                                    </p:anim>
                                    <p:anim calcmode="lin" valueType="num">
                                      <p:cBhvr additive="base">
                                        <p:cTn id="56" dur="500" fill="hold"/>
                                        <p:tgtEl>
                                          <p:spTgt spid="19"/>
                                        </p:tgtEl>
                                        <p:attrNameLst>
                                          <p:attrName>ppt_y</p:attrName>
                                        </p:attrNameLst>
                                      </p:cBhvr>
                                      <p:tavLst>
                                        <p:tav tm="0">
                                          <p:val>
                                            <p:strVal val="#ppt_y"/>
                                          </p:val>
                                        </p:tav>
                                        <p:tav tm="100000">
                                          <p:val>
                                            <p:strVal val="#ppt_y"/>
                                          </p:val>
                                        </p:tav>
                                      </p:tavLst>
                                    </p:anim>
                                  </p:childTnLst>
                                </p:cTn>
                              </p:par>
                              <p:par>
                                <p:cTn id="57" presetID="2" presetClass="entr" presetSubtype="2" fill="hold" nodeType="withEffect">
                                  <p:stCondLst>
                                    <p:cond delay="0"/>
                                  </p:stCondLst>
                                  <p:childTnLst>
                                    <p:set>
                                      <p:cBhvr>
                                        <p:cTn id="58" dur="1" fill="hold">
                                          <p:stCondLst>
                                            <p:cond delay="0"/>
                                          </p:stCondLst>
                                        </p:cTn>
                                        <p:tgtEl>
                                          <p:spTgt spid="10"/>
                                        </p:tgtEl>
                                        <p:attrNameLst>
                                          <p:attrName>style.visibility</p:attrName>
                                        </p:attrNameLst>
                                      </p:cBhvr>
                                      <p:to>
                                        <p:strVal val="visible"/>
                                      </p:to>
                                    </p:set>
                                    <p:anim calcmode="lin" valueType="num">
                                      <p:cBhvr additive="base">
                                        <p:cTn id="59" dur="500" fill="hold"/>
                                        <p:tgtEl>
                                          <p:spTgt spid="10"/>
                                        </p:tgtEl>
                                        <p:attrNameLst>
                                          <p:attrName>ppt_x</p:attrName>
                                        </p:attrNameLst>
                                      </p:cBhvr>
                                      <p:tavLst>
                                        <p:tav tm="0">
                                          <p:val>
                                            <p:strVal val="1+#ppt_w/2"/>
                                          </p:val>
                                        </p:tav>
                                        <p:tav tm="100000">
                                          <p:val>
                                            <p:strVal val="#ppt_x"/>
                                          </p:val>
                                        </p:tav>
                                      </p:tavLst>
                                    </p:anim>
                                    <p:anim calcmode="lin" valueType="num">
                                      <p:cBhvr additive="base">
                                        <p:cTn id="60" dur="500" fill="hold"/>
                                        <p:tgtEl>
                                          <p:spTgt spid="10"/>
                                        </p:tgtEl>
                                        <p:attrNameLst>
                                          <p:attrName>ppt_y</p:attrName>
                                        </p:attrNameLst>
                                      </p:cBhvr>
                                      <p:tavLst>
                                        <p:tav tm="0">
                                          <p:val>
                                            <p:strVal val="#ppt_y"/>
                                          </p:val>
                                        </p:tav>
                                        <p:tav tm="100000">
                                          <p:val>
                                            <p:strVal val="#ppt_y"/>
                                          </p:val>
                                        </p:tav>
                                      </p:tavLst>
                                    </p:anim>
                                  </p:childTnLst>
                                </p:cTn>
                              </p:par>
                              <p:par>
                                <p:cTn id="61" presetID="2" presetClass="entr" presetSubtype="2" fill="hold" nodeType="withEffect">
                                  <p:stCondLst>
                                    <p:cond delay="0"/>
                                  </p:stCondLst>
                                  <p:childTnLst>
                                    <p:set>
                                      <p:cBhvr>
                                        <p:cTn id="62" dur="1" fill="hold">
                                          <p:stCondLst>
                                            <p:cond delay="0"/>
                                          </p:stCondLst>
                                        </p:cTn>
                                        <p:tgtEl>
                                          <p:spTgt spid="35"/>
                                        </p:tgtEl>
                                        <p:attrNameLst>
                                          <p:attrName>style.visibility</p:attrName>
                                        </p:attrNameLst>
                                      </p:cBhvr>
                                      <p:to>
                                        <p:strVal val="visible"/>
                                      </p:to>
                                    </p:set>
                                    <p:anim calcmode="lin" valueType="num">
                                      <p:cBhvr additive="base">
                                        <p:cTn id="63" dur="500" fill="hold"/>
                                        <p:tgtEl>
                                          <p:spTgt spid="35"/>
                                        </p:tgtEl>
                                        <p:attrNameLst>
                                          <p:attrName>ppt_x</p:attrName>
                                        </p:attrNameLst>
                                      </p:cBhvr>
                                      <p:tavLst>
                                        <p:tav tm="0">
                                          <p:val>
                                            <p:strVal val="1+#ppt_w/2"/>
                                          </p:val>
                                        </p:tav>
                                        <p:tav tm="100000">
                                          <p:val>
                                            <p:strVal val="#ppt_x"/>
                                          </p:val>
                                        </p:tav>
                                      </p:tavLst>
                                    </p:anim>
                                    <p:anim calcmode="lin" valueType="num">
                                      <p:cBhvr additive="base">
                                        <p:cTn id="64" dur="500" fill="hold"/>
                                        <p:tgtEl>
                                          <p:spTgt spid="35"/>
                                        </p:tgtEl>
                                        <p:attrNameLst>
                                          <p:attrName>ppt_y</p:attrName>
                                        </p:attrNameLst>
                                      </p:cBhvr>
                                      <p:tavLst>
                                        <p:tav tm="0">
                                          <p:val>
                                            <p:strVal val="#ppt_y"/>
                                          </p:val>
                                        </p:tav>
                                        <p:tav tm="100000">
                                          <p:val>
                                            <p:strVal val="#ppt_y"/>
                                          </p:val>
                                        </p:tav>
                                      </p:tavLst>
                                    </p:anim>
                                  </p:childTnLst>
                                </p:cTn>
                              </p:par>
                              <p:par>
                                <p:cTn id="65" presetID="2" presetClass="entr" presetSubtype="2" fill="hold" nodeType="withEffect">
                                  <p:stCondLst>
                                    <p:cond delay="0"/>
                                  </p:stCondLst>
                                  <p:childTnLst>
                                    <p:set>
                                      <p:cBhvr>
                                        <p:cTn id="66" dur="1" fill="hold">
                                          <p:stCondLst>
                                            <p:cond delay="0"/>
                                          </p:stCondLst>
                                        </p:cTn>
                                        <p:tgtEl>
                                          <p:spTgt spid="33"/>
                                        </p:tgtEl>
                                        <p:attrNameLst>
                                          <p:attrName>style.visibility</p:attrName>
                                        </p:attrNameLst>
                                      </p:cBhvr>
                                      <p:to>
                                        <p:strVal val="visible"/>
                                      </p:to>
                                    </p:set>
                                    <p:anim calcmode="lin" valueType="num">
                                      <p:cBhvr additive="base">
                                        <p:cTn id="67" dur="500" fill="hold"/>
                                        <p:tgtEl>
                                          <p:spTgt spid="33"/>
                                        </p:tgtEl>
                                        <p:attrNameLst>
                                          <p:attrName>ppt_x</p:attrName>
                                        </p:attrNameLst>
                                      </p:cBhvr>
                                      <p:tavLst>
                                        <p:tav tm="0">
                                          <p:val>
                                            <p:strVal val="1+#ppt_w/2"/>
                                          </p:val>
                                        </p:tav>
                                        <p:tav tm="100000">
                                          <p:val>
                                            <p:strVal val="#ppt_x"/>
                                          </p:val>
                                        </p:tav>
                                      </p:tavLst>
                                    </p:anim>
                                    <p:anim calcmode="lin" valueType="num">
                                      <p:cBhvr additive="base">
                                        <p:cTn id="68" dur="500" fill="hold"/>
                                        <p:tgtEl>
                                          <p:spTgt spid="33"/>
                                        </p:tgtEl>
                                        <p:attrNameLst>
                                          <p:attrName>ppt_y</p:attrName>
                                        </p:attrNameLst>
                                      </p:cBhvr>
                                      <p:tavLst>
                                        <p:tav tm="0">
                                          <p:val>
                                            <p:strVal val="#ppt_y"/>
                                          </p:val>
                                        </p:tav>
                                        <p:tav tm="100000">
                                          <p:val>
                                            <p:strVal val="#ppt_y"/>
                                          </p:val>
                                        </p:tav>
                                      </p:tavLst>
                                    </p:anim>
                                  </p:childTnLst>
                                </p:cTn>
                              </p:par>
                              <p:par>
                                <p:cTn id="69" presetID="2" presetClass="entr" presetSubtype="2" fill="hold" nodeType="withEffect">
                                  <p:stCondLst>
                                    <p:cond delay="0"/>
                                  </p:stCondLst>
                                  <p:childTnLst>
                                    <p:set>
                                      <p:cBhvr>
                                        <p:cTn id="70" dur="1" fill="hold">
                                          <p:stCondLst>
                                            <p:cond delay="0"/>
                                          </p:stCondLst>
                                        </p:cTn>
                                        <p:tgtEl>
                                          <p:spTgt spid="41"/>
                                        </p:tgtEl>
                                        <p:attrNameLst>
                                          <p:attrName>style.visibility</p:attrName>
                                        </p:attrNameLst>
                                      </p:cBhvr>
                                      <p:to>
                                        <p:strVal val="visible"/>
                                      </p:to>
                                    </p:set>
                                    <p:anim calcmode="lin" valueType="num">
                                      <p:cBhvr additive="base">
                                        <p:cTn id="71" dur="500" fill="hold"/>
                                        <p:tgtEl>
                                          <p:spTgt spid="41"/>
                                        </p:tgtEl>
                                        <p:attrNameLst>
                                          <p:attrName>ppt_x</p:attrName>
                                        </p:attrNameLst>
                                      </p:cBhvr>
                                      <p:tavLst>
                                        <p:tav tm="0">
                                          <p:val>
                                            <p:strVal val="1+#ppt_w/2"/>
                                          </p:val>
                                        </p:tav>
                                        <p:tav tm="100000">
                                          <p:val>
                                            <p:strVal val="#ppt_x"/>
                                          </p:val>
                                        </p:tav>
                                      </p:tavLst>
                                    </p:anim>
                                    <p:anim calcmode="lin" valueType="num">
                                      <p:cBhvr additive="base">
                                        <p:cTn id="72" dur="500" fill="hold"/>
                                        <p:tgtEl>
                                          <p:spTgt spid="41"/>
                                        </p:tgtEl>
                                        <p:attrNameLst>
                                          <p:attrName>ppt_y</p:attrName>
                                        </p:attrNameLst>
                                      </p:cBhvr>
                                      <p:tavLst>
                                        <p:tav tm="0">
                                          <p:val>
                                            <p:strVal val="#ppt_y"/>
                                          </p:val>
                                        </p:tav>
                                        <p:tav tm="100000">
                                          <p:val>
                                            <p:strVal val="#ppt_y"/>
                                          </p:val>
                                        </p:tav>
                                      </p:tavLst>
                                    </p:anim>
                                  </p:childTnLst>
                                </p:cTn>
                              </p:par>
                              <p:par>
                                <p:cTn id="73" presetID="2" presetClass="entr" presetSubtype="2" fill="hold" nodeType="withEffect">
                                  <p:stCondLst>
                                    <p:cond delay="0"/>
                                  </p:stCondLst>
                                  <p:childTnLst>
                                    <p:set>
                                      <p:cBhvr>
                                        <p:cTn id="74" dur="1" fill="hold">
                                          <p:stCondLst>
                                            <p:cond delay="0"/>
                                          </p:stCondLst>
                                        </p:cTn>
                                        <p:tgtEl>
                                          <p:spTgt spid="42"/>
                                        </p:tgtEl>
                                        <p:attrNameLst>
                                          <p:attrName>style.visibility</p:attrName>
                                        </p:attrNameLst>
                                      </p:cBhvr>
                                      <p:to>
                                        <p:strVal val="visible"/>
                                      </p:to>
                                    </p:set>
                                    <p:anim calcmode="lin" valueType="num">
                                      <p:cBhvr additive="base">
                                        <p:cTn id="75" dur="500" fill="hold"/>
                                        <p:tgtEl>
                                          <p:spTgt spid="42"/>
                                        </p:tgtEl>
                                        <p:attrNameLst>
                                          <p:attrName>ppt_x</p:attrName>
                                        </p:attrNameLst>
                                      </p:cBhvr>
                                      <p:tavLst>
                                        <p:tav tm="0">
                                          <p:val>
                                            <p:strVal val="1+#ppt_w/2"/>
                                          </p:val>
                                        </p:tav>
                                        <p:tav tm="100000">
                                          <p:val>
                                            <p:strVal val="#ppt_x"/>
                                          </p:val>
                                        </p:tav>
                                      </p:tavLst>
                                    </p:anim>
                                    <p:anim calcmode="lin" valueType="num">
                                      <p:cBhvr additive="base">
                                        <p:cTn id="76" dur="500" fill="hold"/>
                                        <p:tgtEl>
                                          <p:spTgt spid="42"/>
                                        </p:tgtEl>
                                        <p:attrNameLst>
                                          <p:attrName>ppt_y</p:attrName>
                                        </p:attrNameLst>
                                      </p:cBhvr>
                                      <p:tavLst>
                                        <p:tav tm="0">
                                          <p:val>
                                            <p:strVal val="#ppt_y"/>
                                          </p:val>
                                        </p:tav>
                                        <p:tav tm="100000">
                                          <p:val>
                                            <p:strVal val="#ppt_y"/>
                                          </p:val>
                                        </p:tav>
                                      </p:tavLst>
                                    </p:anim>
                                  </p:childTnLst>
                                </p:cTn>
                              </p:par>
                              <p:par>
                                <p:cTn id="77" presetID="2" presetClass="entr" presetSubtype="2" fill="hold" nodeType="withEffect">
                                  <p:stCondLst>
                                    <p:cond delay="0"/>
                                  </p:stCondLst>
                                  <p:childTnLst>
                                    <p:set>
                                      <p:cBhvr>
                                        <p:cTn id="78" dur="1" fill="hold">
                                          <p:stCondLst>
                                            <p:cond delay="0"/>
                                          </p:stCondLst>
                                        </p:cTn>
                                        <p:tgtEl>
                                          <p:spTgt spid="43"/>
                                        </p:tgtEl>
                                        <p:attrNameLst>
                                          <p:attrName>style.visibility</p:attrName>
                                        </p:attrNameLst>
                                      </p:cBhvr>
                                      <p:to>
                                        <p:strVal val="visible"/>
                                      </p:to>
                                    </p:set>
                                    <p:anim calcmode="lin" valueType="num">
                                      <p:cBhvr additive="base">
                                        <p:cTn id="79" dur="500" fill="hold"/>
                                        <p:tgtEl>
                                          <p:spTgt spid="43"/>
                                        </p:tgtEl>
                                        <p:attrNameLst>
                                          <p:attrName>ppt_x</p:attrName>
                                        </p:attrNameLst>
                                      </p:cBhvr>
                                      <p:tavLst>
                                        <p:tav tm="0">
                                          <p:val>
                                            <p:strVal val="1+#ppt_w/2"/>
                                          </p:val>
                                        </p:tav>
                                        <p:tav tm="100000">
                                          <p:val>
                                            <p:strVal val="#ppt_x"/>
                                          </p:val>
                                        </p:tav>
                                      </p:tavLst>
                                    </p:anim>
                                    <p:anim calcmode="lin" valueType="num">
                                      <p:cBhvr additive="base">
                                        <p:cTn id="80" dur="500" fill="hold"/>
                                        <p:tgtEl>
                                          <p:spTgt spid="43"/>
                                        </p:tgtEl>
                                        <p:attrNameLst>
                                          <p:attrName>ppt_y</p:attrName>
                                        </p:attrNameLst>
                                      </p:cBhvr>
                                      <p:tavLst>
                                        <p:tav tm="0">
                                          <p:val>
                                            <p:strVal val="#ppt_y"/>
                                          </p:val>
                                        </p:tav>
                                        <p:tav tm="100000">
                                          <p:val>
                                            <p:strVal val="#ppt_y"/>
                                          </p:val>
                                        </p:tav>
                                      </p:tavLst>
                                    </p:anim>
                                  </p:childTnLst>
                                </p:cTn>
                              </p:par>
                              <p:par>
                                <p:cTn id="81" presetID="2" presetClass="entr" presetSubtype="2" fill="hold" nodeType="withEffect">
                                  <p:stCondLst>
                                    <p:cond delay="0"/>
                                  </p:stCondLst>
                                  <p:childTnLst>
                                    <p:set>
                                      <p:cBhvr>
                                        <p:cTn id="82" dur="1" fill="hold">
                                          <p:stCondLst>
                                            <p:cond delay="0"/>
                                          </p:stCondLst>
                                        </p:cTn>
                                        <p:tgtEl>
                                          <p:spTgt spid="45"/>
                                        </p:tgtEl>
                                        <p:attrNameLst>
                                          <p:attrName>style.visibility</p:attrName>
                                        </p:attrNameLst>
                                      </p:cBhvr>
                                      <p:to>
                                        <p:strVal val="visible"/>
                                      </p:to>
                                    </p:set>
                                    <p:anim calcmode="lin" valueType="num">
                                      <p:cBhvr additive="base">
                                        <p:cTn id="83" dur="500" fill="hold"/>
                                        <p:tgtEl>
                                          <p:spTgt spid="45"/>
                                        </p:tgtEl>
                                        <p:attrNameLst>
                                          <p:attrName>ppt_x</p:attrName>
                                        </p:attrNameLst>
                                      </p:cBhvr>
                                      <p:tavLst>
                                        <p:tav tm="0">
                                          <p:val>
                                            <p:strVal val="1+#ppt_w/2"/>
                                          </p:val>
                                        </p:tav>
                                        <p:tav tm="100000">
                                          <p:val>
                                            <p:strVal val="#ppt_x"/>
                                          </p:val>
                                        </p:tav>
                                      </p:tavLst>
                                    </p:anim>
                                    <p:anim calcmode="lin" valueType="num">
                                      <p:cBhvr additive="base">
                                        <p:cTn id="84" dur="500" fill="hold"/>
                                        <p:tgtEl>
                                          <p:spTgt spid="45"/>
                                        </p:tgtEl>
                                        <p:attrNameLst>
                                          <p:attrName>ppt_y</p:attrName>
                                        </p:attrNameLst>
                                      </p:cBhvr>
                                      <p:tavLst>
                                        <p:tav tm="0">
                                          <p:val>
                                            <p:strVal val="#ppt_y"/>
                                          </p:val>
                                        </p:tav>
                                        <p:tav tm="100000">
                                          <p:val>
                                            <p:strVal val="#ppt_y"/>
                                          </p:val>
                                        </p:tav>
                                      </p:tavLst>
                                    </p:anim>
                                  </p:childTnLst>
                                </p:cTn>
                              </p:par>
                              <p:par>
                                <p:cTn id="85" presetID="2" presetClass="entr" presetSubtype="2" fill="hold" nodeType="withEffect">
                                  <p:stCondLst>
                                    <p:cond delay="0"/>
                                  </p:stCondLst>
                                  <p:childTnLst>
                                    <p:set>
                                      <p:cBhvr>
                                        <p:cTn id="86" dur="1" fill="hold">
                                          <p:stCondLst>
                                            <p:cond delay="0"/>
                                          </p:stCondLst>
                                        </p:cTn>
                                        <p:tgtEl>
                                          <p:spTgt spid="44"/>
                                        </p:tgtEl>
                                        <p:attrNameLst>
                                          <p:attrName>style.visibility</p:attrName>
                                        </p:attrNameLst>
                                      </p:cBhvr>
                                      <p:to>
                                        <p:strVal val="visible"/>
                                      </p:to>
                                    </p:set>
                                    <p:anim calcmode="lin" valueType="num">
                                      <p:cBhvr additive="base">
                                        <p:cTn id="87" dur="500" fill="hold"/>
                                        <p:tgtEl>
                                          <p:spTgt spid="44"/>
                                        </p:tgtEl>
                                        <p:attrNameLst>
                                          <p:attrName>ppt_x</p:attrName>
                                        </p:attrNameLst>
                                      </p:cBhvr>
                                      <p:tavLst>
                                        <p:tav tm="0">
                                          <p:val>
                                            <p:strVal val="1+#ppt_w/2"/>
                                          </p:val>
                                        </p:tav>
                                        <p:tav tm="100000">
                                          <p:val>
                                            <p:strVal val="#ppt_x"/>
                                          </p:val>
                                        </p:tav>
                                      </p:tavLst>
                                    </p:anim>
                                    <p:anim calcmode="lin" valueType="num">
                                      <p:cBhvr additive="base">
                                        <p:cTn id="88" dur="500" fill="hold"/>
                                        <p:tgtEl>
                                          <p:spTgt spid="44"/>
                                        </p:tgtEl>
                                        <p:attrNameLst>
                                          <p:attrName>ppt_y</p:attrName>
                                        </p:attrNameLst>
                                      </p:cBhvr>
                                      <p:tavLst>
                                        <p:tav tm="0">
                                          <p:val>
                                            <p:strVal val="#ppt_y"/>
                                          </p:val>
                                        </p:tav>
                                        <p:tav tm="100000">
                                          <p:val>
                                            <p:strVal val="#ppt_y"/>
                                          </p:val>
                                        </p:tav>
                                      </p:tavLst>
                                    </p:anim>
                                  </p:childTnLst>
                                </p:cTn>
                              </p:par>
                              <p:par>
                                <p:cTn id="89" presetID="2" presetClass="entr" presetSubtype="2" fill="hold" nodeType="withEffect">
                                  <p:stCondLst>
                                    <p:cond delay="0"/>
                                  </p:stCondLst>
                                  <p:childTnLst>
                                    <p:set>
                                      <p:cBhvr>
                                        <p:cTn id="90" dur="1" fill="hold">
                                          <p:stCondLst>
                                            <p:cond delay="0"/>
                                          </p:stCondLst>
                                        </p:cTn>
                                        <p:tgtEl>
                                          <p:spTgt spid="46"/>
                                        </p:tgtEl>
                                        <p:attrNameLst>
                                          <p:attrName>style.visibility</p:attrName>
                                        </p:attrNameLst>
                                      </p:cBhvr>
                                      <p:to>
                                        <p:strVal val="visible"/>
                                      </p:to>
                                    </p:set>
                                    <p:anim calcmode="lin" valueType="num">
                                      <p:cBhvr additive="base">
                                        <p:cTn id="91" dur="500" fill="hold"/>
                                        <p:tgtEl>
                                          <p:spTgt spid="46"/>
                                        </p:tgtEl>
                                        <p:attrNameLst>
                                          <p:attrName>ppt_x</p:attrName>
                                        </p:attrNameLst>
                                      </p:cBhvr>
                                      <p:tavLst>
                                        <p:tav tm="0">
                                          <p:val>
                                            <p:strVal val="1+#ppt_w/2"/>
                                          </p:val>
                                        </p:tav>
                                        <p:tav tm="100000">
                                          <p:val>
                                            <p:strVal val="#ppt_x"/>
                                          </p:val>
                                        </p:tav>
                                      </p:tavLst>
                                    </p:anim>
                                    <p:anim calcmode="lin" valueType="num">
                                      <p:cBhvr additive="base">
                                        <p:cTn id="92" dur="500" fill="hold"/>
                                        <p:tgtEl>
                                          <p:spTgt spid="4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sample scenario</a:t>
            </a:r>
          </a:p>
        </p:txBody>
      </p:sp>
      <p:sp>
        <p:nvSpPr>
          <p:cNvPr id="88" name="Text Placeholder 87"/>
          <p:cNvSpPr>
            <a:spLocks noGrp="1"/>
          </p:cNvSpPr>
          <p:nvPr>
            <p:ph type="body" sz="quarter" idx="10"/>
          </p:nvPr>
        </p:nvSpPr>
        <p:spPr>
          <a:xfrm>
            <a:off x="280146" y="1593198"/>
            <a:ext cx="6250543" cy="5409686"/>
          </a:xfrm>
        </p:spPr>
        <p:txBody>
          <a:bodyPr/>
          <a:lstStyle/>
          <a:p>
            <a:r>
              <a:rPr lang="en-US" sz="3200" dirty="0"/>
              <a:t>Simulated wind turbine</a:t>
            </a:r>
          </a:p>
          <a:p>
            <a:pPr lvl="1"/>
            <a:r>
              <a:rPr lang="en-US" sz="1600" dirty="0"/>
              <a:t>Emits telemetry every second</a:t>
            </a:r>
          </a:p>
          <a:p>
            <a:pPr lvl="1"/>
            <a:r>
              <a:rPr lang="en-US" sz="1600" dirty="0"/>
              <a:t>State machine (Starting </a:t>
            </a:r>
            <a:r>
              <a:rPr lang="en-US" sz="1600" dirty="0">
                <a:sym typeface="Wingdings" panose="05000000000000000000" pitchFamily="2" charset="2"/>
              </a:rPr>
              <a:t> Started  Stopping  Stopped)</a:t>
            </a:r>
            <a:endParaRPr lang="en-US" sz="1600" dirty="0"/>
          </a:p>
          <a:p>
            <a:r>
              <a:rPr lang="en-US" sz="3200" dirty="0">
                <a:solidFill>
                  <a:schemeClr val="accent4"/>
                </a:solidFill>
              </a:rPr>
              <a:t>Provision device</a:t>
            </a:r>
          </a:p>
          <a:p>
            <a:pPr lvl="1"/>
            <a:r>
              <a:rPr lang="en-US" sz="1600" dirty="0"/>
              <a:t>Device registry to query devices and track provisioning</a:t>
            </a:r>
          </a:p>
          <a:p>
            <a:pPr lvl="1"/>
            <a:r>
              <a:rPr lang="en-US" sz="1600" dirty="0"/>
              <a:t>Device identity and key stored in IoT hub</a:t>
            </a:r>
          </a:p>
          <a:p>
            <a:r>
              <a:rPr lang="en-US" sz="3200" dirty="0">
                <a:solidFill>
                  <a:schemeClr val="accent5"/>
                </a:solidFill>
              </a:rPr>
              <a:t>Device emits telemetry</a:t>
            </a:r>
          </a:p>
          <a:p>
            <a:pPr lvl="1"/>
            <a:r>
              <a:rPr lang="en-US" sz="1600" dirty="0"/>
              <a:t>Event processor receives telemetry and updates portal visualization</a:t>
            </a:r>
          </a:p>
          <a:p>
            <a:r>
              <a:rPr lang="en-US" sz="3200" dirty="0">
                <a:solidFill>
                  <a:schemeClr val="accent6"/>
                </a:solidFill>
              </a:rPr>
              <a:t>Send commands</a:t>
            </a:r>
          </a:p>
          <a:p>
            <a:pPr lvl="1"/>
            <a:r>
              <a:rPr lang="en-US" sz="1600" dirty="0"/>
              <a:t>Portal sends commands to devices</a:t>
            </a:r>
          </a:p>
          <a:p>
            <a:pPr lvl="1"/>
            <a:r>
              <a:rPr lang="en-US" sz="1600" dirty="0"/>
              <a:t>Command lifecycle is stored in device registry</a:t>
            </a:r>
          </a:p>
        </p:txBody>
      </p:sp>
      <p:grpSp>
        <p:nvGrpSpPr>
          <p:cNvPr id="3" name="IoT Hub"/>
          <p:cNvGrpSpPr/>
          <p:nvPr/>
        </p:nvGrpSpPr>
        <p:grpSpPr>
          <a:xfrm>
            <a:off x="7154069" y="1991540"/>
            <a:ext cx="3121330" cy="3667107"/>
            <a:chOff x="7154069" y="1991540"/>
            <a:chExt cx="3121330" cy="3667107"/>
          </a:xfrm>
        </p:grpSpPr>
        <p:sp>
          <p:nvSpPr>
            <p:cNvPr id="35" name="IoT Hub"/>
            <p:cNvSpPr/>
            <p:nvPr/>
          </p:nvSpPr>
          <p:spPr bwMode="auto">
            <a:xfrm>
              <a:off x="7154069" y="1991540"/>
              <a:ext cx="3121330" cy="366710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t" anchorCtr="0" forceAA="0" compatLnSpc="1">
              <a:prstTxWarp prst="textNoShape">
                <a:avLst/>
              </a:prstTxWarp>
              <a:noAutofit/>
            </a:bodyPr>
            <a:lstStyle/>
            <a:p>
              <a:pPr defTabSz="913748" eaLnBrk="1" hangingPunct="1">
                <a:lnSpc>
                  <a:spcPct val="90000"/>
                </a:lnSpc>
                <a:spcAft>
                  <a:spcPts val="0"/>
                </a:spcAft>
              </a:pPr>
              <a:r>
                <a:rPr lang="en-US" dirty="0">
                  <a:solidFill>
                    <a:schemeClr val="tx1"/>
                  </a:solidFill>
                  <a:latin typeface="Segoe UI Semibold" panose="020B0702040204020203" pitchFamily="34" charset="0"/>
                  <a:ea typeface="Segoe UI" pitchFamily="34" charset="0"/>
                  <a:cs typeface="Segoe UI" pitchFamily="34" charset="0"/>
                </a:rPr>
                <a:t>IoT Hub</a:t>
              </a:r>
            </a:p>
          </p:txBody>
        </p:sp>
        <p:grpSp>
          <p:nvGrpSpPr>
            <p:cNvPr id="36" name="Device … 1"/>
            <p:cNvGrpSpPr/>
            <p:nvPr/>
          </p:nvGrpSpPr>
          <p:grpSpPr>
            <a:xfrm>
              <a:off x="7285441" y="2540096"/>
              <a:ext cx="1371391" cy="1554243"/>
              <a:chOff x="1829165" y="3680140"/>
              <a:chExt cx="1371585" cy="1554464"/>
            </a:xfrm>
          </p:grpSpPr>
          <p:sp>
            <p:nvSpPr>
              <p:cNvPr id="37" name="Rectangle 36"/>
              <p:cNvSpPr/>
              <p:nvPr/>
            </p:nvSpPr>
            <p:spPr bwMode="auto">
              <a:xfrm>
                <a:off x="1829165" y="3680140"/>
                <a:ext cx="1371585" cy="155446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Device id</a:t>
                </a:r>
              </a:p>
            </p:txBody>
          </p:sp>
          <p:sp>
            <p:nvSpPr>
              <p:cNvPr id="39" name="Rectangle 38"/>
              <p:cNvSpPr/>
              <p:nvPr/>
            </p:nvSpPr>
            <p:spPr bwMode="auto">
              <a:xfrm>
                <a:off x="2012042" y="4329847"/>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a:ea typeface="+mn-ea"/>
                    <a:cs typeface="+mn-cs"/>
                  </a:rPr>
                  <a:t>C2D queue</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a:ea typeface="+mn-ea"/>
                    <a:cs typeface="+mn-cs"/>
                  </a:rPr>
                  <a:t>endpoint</a:t>
                </a:r>
              </a:p>
            </p:txBody>
          </p:sp>
          <p:sp>
            <p:nvSpPr>
              <p:cNvPr id="40" name="Rectangle 39"/>
              <p:cNvSpPr/>
              <p:nvPr/>
            </p:nvSpPr>
            <p:spPr bwMode="auto">
              <a:xfrm>
                <a:off x="2012041" y="3781213"/>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a:ea typeface="+mn-ea"/>
                    <a:cs typeface="+mn-cs"/>
                  </a:rPr>
                  <a:t>D2C send endpoint</a:t>
                </a:r>
              </a:p>
            </p:txBody>
          </p:sp>
        </p:grpSp>
        <p:sp>
          <p:nvSpPr>
            <p:cNvPr id="41" name="Device … 2"/>
            <p:cNvSpPr/>
            <p:nvPr/>
          </p:nvSpPr>
          <p:spPr bwMode="auto">
            <a:xfrm>
              <a:off x="7285441" y="4277191"/>
              <a:ext cx="1371391" cy="36570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t"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Device …</a:t>
              </a:r>
            </a:p>
          </p:txBody>
        </p:sp>
        <p:sp>
          <p:nvSpPr>
            <p:cNvPr id="42" name="Device …3"/>
            <p:cNvSpPr/>
            <p:nvPr/>
          </p:nvSpPr>
          <p:spPr bwMode="auto">
            <a:xfrm>
              <a:off x="7285441" y="4759387"/>
              <a:ext cx="1371391" cy="36570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t"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Device …</a:t>
              </a:r>
            </a:p>
          </p:txBody>
        </p:sp>
        <p:sp>
          <p:nvSpPr>
            <p:cNvPr id="43" name="Device …4"/>
            <p:cNvSpPr/>
            <p:nvPr/>
          </p:nvSpPr>
          <p:spPr bwMode="auto">
            <a:xfrm>
              <a:off x="7285438" y="5200451"/>
              <a:ext cx="1371391" cy="36570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t"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Device …</a:t>
              </a:r>
            </a:p>
          </p:txBody>
        </p:sp>
        <p:sp>
          <p:nvSpPr>
            <p:cNvPr id="44" name="D2C receive endpoint"/>
            <p:cNvSpPr/>
            <p:nvPr/>
          </p:nvSpPr>
          <p:spPr bwMode="auto">
            <a:xfrm>
              <a:off x="8760566" y="2529309"/>
              <a:ext cx="1371391" cy="85567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D2C receive endpoint</a:t>
              </a:r>
            </a:p>
          </p:txBody>
        </p:sp>
        <p:sp>
          <p:nvSpPr>
            <p:cNvPr id="45" name="C2D send endpoint"/>
            <p:cNvSpPr/>
            <p:nvPr/>
          </p:nvSpPr>
          <p:spPr bwMode="auto">
            <a:xfrm>
              <a:off x="8760566" y="3443568"/>
              <a:ext cx="1371391" cy="593382"/>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C2D send endpoint</a:t>
              </a:r>
            </a:p>
          </p:txBody>
        </p:sp>
        <p:sp>
          <p:nvSpPr>
            <p:cNvPr id="48" name="IoT Hub management"/>
            <p:cNvSpPr/>
            <p:nvPr/>
          </p:nvSpPr>
          <p:spPr bwMode="auto">
            <a:xfrm>
              <a:off x="8760563" y="4840246"/>
              <a:ext cx="1371391" cy="72591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IoT Hub management</a:t>
              </a:r>
            </a:p>
          </p:txBody>
        </p:sp>
        <p:grpSp>
          <p:nvGrpSpPr>
            <p:cNvPr id="49" name="Device … 2"/>
            <p:cNvGrpSpPr/>
            <p:nvPr/>
          </p:nvGrpSpPr>
          <p:grpSpPr>
            <a:xfrm>
              <a:off x="8333877" y="4302271"/>
              <a:ext cx="190516" cy="315544"/>
              <a:chOff x="4593735" y="4663834"/>
              <a:chExt cx="152594" cy="252735"/>
            </a:xfrm>
          </p:grpSpPr>
          <p:sp>
            <p:nvSpPr>
              <p:cNvPr id="50" name="Freeform 13"/>
              <p:cNvSpPr>
                <a:spLocks noEditPoints="1"/>
              </p:cNvSpPr>
              <p:nvPr/>
            </p:nvSpPr>
            <p:spPr bwMode="auto">
              <a:xfrm>
                <a:off x="4593735" y="4663834"/>
                <a:ext cx="128641" cy="86722"/>
              </a:xfrm>
              <a:prstGeom prst="frame">
                <a:avLst/>
              </a:prstGeom>
              <a:solidFill>
                <a:srgbClr val="86BE0E"/>
              </a:solidFill>
              <a:ln>
                <a:noFill/>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51" name="Freeform 15"/>
              <p:cNvSpPr>
                <a:spLocks/>
              </p:cNvSpPr>
              <p:nvPr/>
            </p:nvSpPr>
            <p:spPr bwMode="auto">
              <a:xfrm>
                <a:off x="4593735" y="4682953"/>
                <a:ext cx="152594" cy="233616"/>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52" name="Device …4"/>
            <p:cNvGrpSpPr/>
            <p:nvPr/>
          </p:nvGrpSpPr>
          <p:grpSpPr>
            <a:xfrm>
              <a:off x="8161801" y="5215651"/>
              <a:ext cx="407905" cy="337660"/>
              <a:chOff x="517516" y="3589298"/>
              <a:chExt cx="1770439" cy="1465554"/>
            </a:xfrm>
          </p:grpSpPr>
          <p:sp>
            <p:nvSpPr>
              <p:cNvPr id="53"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54" name="Oval 29"/>
              <p:cNvSpPr>
                <a:spLocks noChangeArrowheads="1"/>
              </p:cNvSpPr>
              <p:nvPr/>
            </p:nvSpPr>
            <p:spPr bwMode="auto">
              <a:xfrm>
                <a:off x="1204260" y="3589298"/>
                <a:ext cx="241493" cy="241493"/>
              </a:xfrm>
              <a:prstGeom prst="ellipse">
                <a:avLst/>
              </a:prstGeom>
              <a:solidFill>
                <a:srgbClr val="86BE0E"/>
              </a:solidFill>
              <a:ln>
                <a:noFill/>
              </a:ln>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55"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7" name="Device …3"/>
            <p:cNvGrpSpPr/>
            <p:nvPr/>
          </p:nvGrpSpPr>
          <p:grpSpPr>
            <a:xfrm>
              <a:off x="8200676" y="4822464"/>
              <a:ext cx="339700" cy="204635"/>
              <a:chOff x="1783977" y="3232718"/>
              <a:chExt cx="423736" cy="255258"/>
            </a:xfrm>
          </p:grpSpPr>
          <p:sp>
            <p:nvSpPr>
              <p:cNvPr id="58"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59"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rgbClr val="86BE0E"/>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grpSp>
        <p:sp>
          <p:nvSpPr>
            <p:cNvPr id="61" name="Device … 1"/>
            <p:cNvSpPr>
              <a:spLocks noEditPoints="1"/>
            </p:cNvSpPr>
            <p:nvPr/>
          </p:nvSpPr>
          <p:spPr bwMode="black">
            <a:xfrm>
              <a:off x="8226935" y="3762665"/>
              <a:ext cx="297458" cy="297262"/>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grpSp>
          <p:nvGrpSpPr>
            <p:cNvPr id="62" name="IoT Hub management"/>
            <p:cNvGrpSpPr/>
            <p:nvPr/>
          </p:nvGrpSpPr>
          <p:grpSpPr>
            <a:xfrm>
              <a:off x="9578879" y="4896097"/>
              <a:ext cx="425518" cy="375193"/>
              <a:chOff x="5940450" y="5470954"/>
              <a:chExt cx="425518" cy="375193"/>
            </a:xfrm>
          </p:grpSpPr>
          <p:sp>
            <p:nvSpPr>
              <p:cNvPr id="63" name="Freeform 62"/>
              <p:cNvSpPr/>
              <p:nvPr/>
            </p:nvSpPr>
            <p:spPr bwMode="auto">
              <a:xfrm>
                <a:off x="5940450" y="5470954"/>
                <a:ext cx="425518" cy="375193"/>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4" name="Group 63"/>
              <p:cNvGrpSpPr/>
              <p:nvPr/>
            </p:nvGrpSpPr>
            <p:grpSpPr>
              <a:xfrm>
                <a:off x="6032077" y="5601867"/>
                <a:ext cx="258584" cy="74058"/>
                <a:chOff x="5993561" y="5590711"/>
                <a:chExt cx="371622" cy="106432"/>
              </a:xfrm>
            </p:grpSpPr>
            <p:sp>
              <p:nvSpPr>
                <p:cNvPr id="69" name="Rectangle 68"/>
                <p:cNvSpPr/>
                <p:nvPr/>
              </p:nvSpPr>
              <p:spPr bwMode="auto">
                <a:xfrm>
                  <a:off x="599356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Rectangle 69"/>
                <p:cNvSpPr/>
                <p:nvPr/>
              </p:nvSpPr>
              <p:spPr bwMode="auto">
                <a:xfrm>
                  <a:off x="6123832"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Rectangle 70"/>
                <p:cNvSpPr/>
                <p:nvPr/>
              </p:nvSpPr>
              <p:spPr bwMode="auto">
                <a:xfrm>
                  <a:off x="6258751" y="5590711"/>
                  <a:ext cx="106432" cy="1064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65" name="Group 64"/>
              <p:cNvGrpSpPr/>
              <p:nvPr/>
            </p:nvGrpSpPr>
            <p:grpSpPr>
              <a:xfrm>
                <a:off x="6032077" y="5697143"/>
                <a:ext cx="258584" cy="74058"/>
                <a:chOff x="5993561" y="5590711"/>
                <a:chExt cx="371622" cy="106432"/>
              </a:xfrm>
            </p:grpSpPr>
            <p:sp>
              <p:nvSpPr>
                <p:cNvPr id="66" name="Rectangle 65"/>
                <p:cNvSpPr/>
                <p:nvPr/>
              </p:nvSpPr>
              <p:spPr bwMode="auto">
                <a:xfrm>
                  <a:off x="5993561"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Rectangle 66"/>
                <p:cNvSpPr/>
                <p:nvPr/>
              </p:nvSpPr>
              <p:spPr bwMode="auto">
                <a:xfrm>
                  <a:off x="6123832"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Rectangle 67"/>
                <p:cNvSpPr/>
                <p:nvPr/>
              </p:nvSpPr>
              <p:spPr bwMode="auto">
                <a:xfrm>
                  <a:off x="625875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75" name="C2D send endpoint"/>
            <p:cNvGrpSpPr>
              <a:grpSpLocks noChangeAspect="1"/>
            </p:cNvGrpSpPr>
            <p:nvPr/>
          </p:nvGrpSpPr>
          <p:grpSpPr bwMode="auto">
            <a:xfrm>
              <a:off x="9809301" y="3533289"/>
              <a:ext cx="184628" cy="186405"/>
              <a:chOff x="8096" y="-1886"/>
              <a:chExt cx="935" cy="944"/>
            </a:xfrm>
            <a:solidFill>
              <a:schemeClr val="bg1"/>
            </a:solidFill>
          </p:grpSpPr>
          <p:sp>
            <p:nvSpPr>
              <p:cNvPr id="76" name="Oval 718"/>
              <p:cNvSpPr>
                <a:spLocks noChangeArrowheads="1"/>
              </p:cNvSpPr>
              <p:nvPr/>
            </p:nvSpPr>
            <p:spPr bwMode="auto">
              <a:xfrm>
                <a:off x="8096" y="-1202"/>
                <a:ext cx="257" cy="260"/>
              </a:xfrm>
              <a:prstGeom prst="ellipse">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77" name="Freeform 719"/>
              <p:cNvSpPr>
                <a:spLocks/>
              </p:cNvSpPr>
              <p:nvPr/>
            </p:nvSpPr>
            <p:spPr bwMode="auto">
              <a:xfrm>
                <a:off x="8096" y="-1568"/>
                <a:ext cx="618" cy="626"/>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78" name="Freeform 720"/>
              <p:cNvSpPr>
                <a:spLocks/>
              </p:cNvSpPr>
              <p:nvPr/>
            </p:nvSpPr>
            <p:spPr bwMode="auto">
              <a:xfrm>
                <a:off x="8096" y="-1886"/>
                <a:ext cx="935" cy="944"/>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grpSp>
        <p:sp>
          <p:nvSpPr>
            <p:cNvPr id="79" name="D2C receive endpoint"/>
            <p:cNvSpPr>
              <a:spLocks noChangeAspect="1"/>
            </p:cNvSpPr>
            <p:nvPr/>
          </p:nvSpPr>
          <p:spPr>
            <a:xfrm>
              <a:off x="9700286" y="2670435"/>
              <a:ext cx="349299" cy="199285"/>
            </a:xfrm>
            <a:custGeom>
              <a:avLst/>
              <a:gdLst>
                <a:gd name="connsiteX0" fmla="*/ 667304 w 790922"/>
                <a:gd name="connsiteY0" fmla="*/ 269960 h 451244"/>
                <a:gd name="connsiteX1" fmla="*/ 611339 w 790922"/>
                <a:gd name="connsiteY1" fmla="*/ 325925 h 451244"/>
                <a:gd name="connsiteX2" fmla="*/ 667304 w 790922"/>
                <a:gd name="connsiteY2" fmla="*/ 381890 h 451244"/>
                <a:gd name="connsiteX3" fmla="*/ 723269 w 790922"/>
                <a:gd name="connsiteY3" fmla="*/ 325925 h 451244"/>
                <a:gd name="connsiteX4" fmla="*/ 667304 w 790922"/>
                <a:gd name="connsiteY4" fmla="*/ 269960 h 451244"/>
                <a:gd name="connsiteX5" fmla="*/ 490129 w 790922"/>
                <a:gd name="connsiteY5" fmla="*/ 269960 h 451244"/>
                <a:gd name="connsiteX6" fmla="*/ 434164 w 790922"/>
                <a:gd name="connsiteY6" fmla="*/ 325925 h 451244"/>
                <a:gd name="connsiteX7" fmla="*/ 490129 w 790922"/>
                <a:gd name="connsiteY7" fmla="*/ 381890 h 451244"/>
                <a:gd name="connsiteX8" fmla="*/ 546094 w 790922"/>
                <a:gd name="connsiteY8" fmla="*/ 325925 h 451244"/>
                <a:gd name="connsiteX9" fmla="*/ 490129 w 790922"/>
                <a:gd name="connsiteY9" fmla="*/ 269960 h 451244"/>
                <a:gd name="connsiteX10" fmla="*/ 312954 w 790922"/>
                <a:gd name="connsiteY10" fmla="*/ 269960 h 451244"/>
                <a:gd name="connsiteX11" fmla="*/ 256989 w 790922"/>
                <a:gd name="connsiteY11" fmla="*/ 325925 h 451244"/>
                <a:gd name="connsiteX12" fmla="*/ 312954 w 790922"/>
                <a:gd name="connsiteY12" fmla="*/ 381890 h 451244"/>
                <a:gd name="connsiteX13" fmla="*/ 368919 w 790922"/>
                <a:gd name="connsiteY13" fmla="*/ 325925 h 451244"/>
                <a:gd name="connsiteX14" fmla="*/ 312954 w 790922"/>
                <a:gd name="connsiteY14" fmla="*/ 269960 h 451244"/>
                <a:gd name="connsiteX15" fmla="*/ 135779 w 790922"/>
                <a:gd name="connsiteY15" fmla="*/ 269960 h 451244"/>
                <a:gd name="connsiteX16" fmla="*/ 79814 w 790922"/>
                <a:gd name="connsiteY16" fmla="*/ 325925 h 451244"/>
                <a:gd name="connsiteX17" fmla="*/ 135779 w 790922"/>
                <a:gd name="connsiteY17" fmla="*/ 381890 h 451244"/>
                <a:gd name="connsiteX18" fmla="*/ 191744 w 790922"/>
                <a:gd name="connsiteY18" fmla="*/ 325925 h 451244"/>
                <a:gd name="connsiteX19" fmla="*/ 135779 w 790922"/>
                <a:gd name="connsiteY19" fmla="*/ 269960 h 451244"/>
                <a:gd name="connsiteX20" fmla="*/ 42480 w 790922"/>
                <a:gd name="connsiteY20" fmla="*/ 196370 h 451244"/>
                <a:gd name="connsiteX21" fmla="*/ 748442 w 790922"/>
                <a:gd name="connsiteY21" fmla="*/ 196370 h 451244"/>
                <a:gd name="connsiteX22" fmla="*/ 790922 w 790922"/>
                <a:gd name="connsiteY22" fmla="*/ 238850 h 451244"/>
                <a:gd name="connsiteX23" fmla="*/ 790922 w 790922"/>
                <a:gd name="connsiteY23" fmla="*/ 408764 h 451244"/>
                <a:gd name="connsiteX24" fmla="*/ 748442 w 790922"/>
                <a:gd name="connsiteY24" fmla="*/ 451244 h 451244"/>
                <a:gd name="connsiteX25" fmla="*/ 42480 w 790922"/>
                <a:gd name="connsiteY25" fmla="*/ 451244 h 451244"/>
                <a:gd name="connsiteX26" fmla="*/ 0 w 790922"/>
                <a:gd name="connsiteY26" fmla="*/ 408764 h 451244"/>
                <a:gd name="connsiteX27" fmla="*/ 0 w 790922"/>
                <a:gd name="connsiteY27" fmla="*/ 238850 h 451244"/>
                <a:gd name="connsiteX28" fmla="*/ 42480 w 790922"/>
                <a:gd name="connsiteY28" fmla="*/ 196370 h 451244"/>
                <a:gd name="connsiteX29" fmla="*/ 149858 w 790922"/>
                <a:gd name="connsiteY29" fmla="*/ 0 h 451244"/>
                <a:gd name="connsiteX30" fmla="*/ 641065 w 790922"/>
                <a:gd name="connsiteY30" fmla="*/ 0 h 451244"/>
                <a:gd name="connsiteX31" fmla="*/ 786874 w 790922"/>
                <a:gd name="connsiteY31" fmla="*/ 142247 h 451244"/>
                <a:gd name="connsiteX32" fmla="*/ 4049 w 790922"/>
                <a:gd name="connsiteY32" fmla="*/ 142247 h 451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90922" h="451244">
                  <a:moveTo>
                    <a:pt x="667304" y="269960"/>
                  </a:moveTo>
                  <a:cubicBezTo>
                    <a:pt x="636395" y="269960"/>
                    <a:pt x="611339" y="295016"/>
                    <a:pt x="611339" y="325925"/>
                  </a:cubicBezTo>
                  <a:cubicBezTo>
                    <a:pt x="611339" y="356834"/>
                    <a:pt x="636395" y="381890"/>
                    <a:pt x="667304" y="381890"/>
                  </a:cubicBezTo>
                  <a:cubicBezTo>
                    <a:pt x="698213" y="381890"/>
                    <a:pt x="723269" y="356834"/>
                    <a:pt x="723269" y="325925"/>
                  </a:cubicBezTo>
                  <a:cubicBezTo>
                    <a:pt x="723269" y="295016"/>
                    <a:pt x="698213" y="269960"/>
                    <a:pt x="667304" y="269960"/>
                  </a:cubicBezTo>
                  <a:close/>
                  <a:moveTo>
                    <a:pt x="490129" y="269960"/>
                  </a:moveTo>
                  <a:cubicBezTo>
                    <a:pt x="459220" y="269960"/>
                    <a:pt x="434164" y="295016"/>
                    <a:pt x="434164" y="325925"/>
                  </a:cubicBezTo>
                  <a:cubicBezTo>
                    <a:pt x="434164" y="356834"/>
                    <a:pt x="459220" y="381890"/>
                    <a:pt x="490129" y="381890"/>
                  </a:cubicBezTo>
                  <a:cubicBezTo>
                    <a:pt x="521038" y="381890"/>
                    <a:pt x="546094" y="356834"/>
                    <a:pt x="546094" y="325925"/>
                  </a:cubicBezTo>
                  <a:cubicBezTo>
                    <a:pt x="546094" y="295016"/>
                    <a:pt x="521038" y="269960"/>
                    <a:pt x="490129" y="269960"/>
                  </a:cubicBezTo>
                  <a:close/>
                  <a:moveTo>
                    <a:pt x="312954" y="269960"/>
                  </a:moveTo>
                  <a:cubicBezTo>
                    <a:pt x="282045" y="269960"/>
                    <a:pt x="256989" y="295016"/>
                    <a:pt x="256989" y="325925"/>
                  </a:cubicBezTo>
                  <a:cubicBezTo>
                    <a:pt x="256989" y="356834"/>
                    <a:pt x="282045" y="381890"/>
                    <a:pt x="312954" y="381890"/>
                  </a:cubicBezTo>
                  <a:cubicBezTo>
                    <a:pt x="343863" y="381890"/>
                    <a:pt x="368919" y="356834"/>
                    <a:pt x="368919" y="325925"/>
                  </a:cubicBezTo>
                  <a:cubicBezTo>
                    <a:pt x="368919" y="295016"/>
                    <a:pt x="343863" y="269960"/>
                    <a:pt x="312954" y="269960"/>
                  </a:cubicBezTo>
                  <a:close/>
                  <a:moveTo>
                    <a:pt x="135779" y="269960"/>
                  </a:moveTo>
                  <a:cubicBezTo>
                    <a:pt x="104870" y="269960"/>
                    <a:pt x="79814" y="295016"/>
                    <a:pt x="79814" y="325925"/>
                  </a:cubicBezTo>
                  <a:cubicBezTo>
                    <a:pt x="79814" y="356834"/>
                    <a:pt x="104870" y="381890"/>
                    <a:pt x="135779" y="381890"/>
                  </a:cubicBezTo>
                  <a:cubicBezTo>
                    <a:pt x="166688" y="381890"/>
                    <a:pt x="191744" y="356834"/>
                    <a:pt x="191744" y="325925"/>
                  </a:cubicBezTo>
                  <a:cubicBezTo>
                    <a:pt x="191744" y="295016"/>
                    <a:pt x="166688" y="269960"/>
                    <a:pt x="135779" y="269960"/>
                  </a:cubicBezTo>
                  <a:close/>
                  <a:moveTo>
                    <a:pt x="42480" y="196370"/>
                  </a:moveTo>
                  <a:lnTo>
                    <a:pt x="748442" y="196370"/>
                  </a:lnTo>
                  <a:cubicBezTo>
                    <a:pt x="771903" y="196370"/>
                    <a:pt x="790922" y="215389"/>
                    <a:pt x="790922" y="238850"/>
                  </a:cubicBezTo>
                  <a:lnTo>
                    <a:pt x="790922" y="408764"/>
                  </a:lnTo>
                  <a:cubicBezTo>
                    <a:pt x="790922" y="432225"/>
                    <a:pt x="771903" y="451244"/>
                    <a:pt x="748442" y="451244"/>
                  </a:cubicBezTo>
                  <a:lnTo>
                    <a:pt x="42480" y="451244"/>
                  </a:lnTo>
                  <a:cubicBezTo>
                    <a:pt x="19019" y="451244"/>
                    <a:pt x="0" y="432225"/>
                    <a:pt x="0" y="408764"/>
                  </a:cubicBezTo>
                  <a:lnTo>
                    <a:pt x="0" y="238850"/>
                  </a:lnTo>
                  <a:cubicBezTo>
                    <a:pt x="0" y="215389"/>
                    <a:pt x="19019" y="196370"/>
                    <a:pt x="42480" y="196370"/>
                  </a:cubicBezTo>
                  <a:close/>
                  <a:moveTo>
                    <a:pt x="149858" y="0"/>
                  </a:moveTo>
                  <a:lnTo>
                    <a:pt x="641065" y="0"/>
                  </a:lnTo>
                  <a:lnTo>
                    <a:pt x="786874" y="142247"/>
                  </a:lnTo>
                  <a:lnTo>
                    <a:pt x="4049" y="142247"/>
                  </a:lnTo>
                  <a:close/>
                </a:path>
              </a:pathLst>
            </a:custGeom>
            <a:gradFill>
              <a:gsLst>
                <a:gs pos="28000">
                  <a:srgbClr val="5EB6DA"/>
                </a:gs>
                <a:gs pos="28000">
                  <a:srgbClr val="3999C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2" name="device"/>
          <p:cNvGrpSpPr/>
          <p:nvPr/>
        </p:nvGrpSpPr>
        <p:grpSpPr>
          <a:xfrm>
            <a:off x="5522966" y="2632209"/>
            <a:ext cx="1491583" cy="2078100"/>
            <a:chOff x="4957920" y="3763411"/>
            <a:chExt cx="1491583" cy="2078100"/>
          </a:xfrm>
          <a:solidFill>
            <a:schemeClr val="tx1"/>
          </a:solidFill>
        </p:grpSpPr>
        <p:sp>
          <p:nvSpPr>
            <p:cNvPr id="110" name="Rectangle 53"/>
            <p:cNvSpPr/>
            <p:nvPr/>
          </p:nvSpPr>
          <p:spPr bwMode="auto">
            <a:xfrm>
              <a:off x="5702130" y="4669454"/>
              <a:ext cx="94234" cy="1172057"/>
            </a:xfrm>
            <a:custGeom>
              <a:avLst/>
              <a:gdLst>
                <a:gd name="connsiteX0" fmla="*/ 0 w 484745"/>
                <a:gd name="connsiteY0" fmla="*/ 0 h 4160950"/>
                <a:gd name="connsiteX1" fmla="*/ 484745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0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70339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70339 w 484745"/>
                <a:gd name="connsiteY4" fmla="*/ 0 h 4160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745" h="4160950">
                  <a:moveTo>
                    <a:pt x="70339" y="0"/>
                  </a:moveTo>
                  <a:lnTo>
                    <a:pt x="400339" y="0"/>
                  </a:lnTo>
                  <a:lnTo>
                    <a:pt x="484745" y="4160950"/>
                  </a:lnTo>
                  <a:lnTo>
                    <a:pt x="0" y="4160950"/>
                  </a:lnTo>
                  <a:lnTo>
                    <a:pt x="7033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grpSp>
          <p:nvGrpSpPr>
            <p:cNvPr id="10" name="Group 9"/>
            <p:cNvGrpSpPr/>
            <p:nvPr/>
          </p:nvGrpSpPr>
          <p:grpSpPr>
            <a:xfrm>
              <a:off x="4957920" y="3763411"/>
              <a:ext cx="1491583" cy="1157753"/>
              <a:chOff x="4957920" y="3763411"/>
              <a:chExt cx="1491583" cy="1157753"/>
            </a:xfrm>
            <a:grpFill/>
          </p:grpSpPr>
          <p:sp>
            <p:nvSpPr>
              <p:cNvPr id="112" name="Oval 111"/>
              <p:cNvSpPr/>
              <p:nvPr/>
            </p:nvSpPr>
            <p:spPr bwMode="auto">
              <a:xfrm rot="780000">
                <a:off x="5672307" y="4479792"/>
                <a:ext cx="164892" cy="16484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13" name="Isosceles Triangle 112"/>
              <p:cNvSpPr/>
              <p:nvPr/>
            </p:nvSpPr>
            <p:spPr bwMode="auto">
              <a:xfrm rot="15180000">
                <a:off x="5269407" y="4336640"/>
                <a:ext cx="89260" cy="712234"/>
              </a:xfrm>
              <a:prstGeom prst="triangl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14" name="Isosceles Triangle 113"/>
              <p:cNvSpPr/>
              <p:nvPr/>
            </p:nvSpPr>
            <p:spPr bwMode="auto">
              <a:xfrm rot="780000">
                <a:off x="5821938" y="3763411"/>
                <a:ext cx="89285" cy="712037"/>
              </a:xfrm>
              <a:prstGeom prst="triangl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15" name="Isosceles Triangle 114"/>
              <p:cNvSpPr/>
              <p:nvPr/>
            </p:nvSpPr>
            <p:spPr bwMode="auto">
              <a:xfrm rot="7980000">
                <a:off x="6048756" y="4520418"/>
                <a:ext cx="89261" cy="712232"/>
              </a:xfrm>
              <a:prstGeom prst="triangl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grpSp>
        <p:grpSp>
          <p:nvGrpSpPr>
            <p:cNvPr id="84" name="Group 83"/>
            <p:cNvGrpSpPr/>
            <p:nvPr/>
          </p:nvGrpSpPr>
          <p:grpSpPr>
            <a:xfrm rot="15009823">
              <a:off x="5437362" y="4267287"/>
              <a:ext cx="184979" cy="299223"/>
              <a:chOff x="10804232" y="5827621"/>
              <a:chExt cx="81972" cy="132564"/>
            </a:xfrm>
            <a:grpFill/>
          </p:grpSpPr>
          <p:sp>
            <p:nvSpPr>
              <p:cNvPr id="95"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96"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97"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grpSp>
      </p:grpSp>
      <p:cxnSp>
        <p:nvCxnSpPr>
          <p:cNvPr id="116" name="Straight Arrow Connector 115"/>
          <p:cNvCxnSpPr/>
          <p:nvPr/>
        </p:nvCxnSpPr>
        <p:spPr>
          <a:xfrm flipH="1">
            <a:off x="6517709" y="3485885"/>
            <a:ext cx="950582" cy="0"/>
          </a:xfrm>
          <a:prstGeom prst="straightConnector1">
            <a:avLst/>
          </a:prstGeom>
          <a:ln w="38100">
            <a:solidFill>
              <a:schemeClr val="accent3"/>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17" name="Straight Arrow Connector 116"/>
          <p:cNvCxnSpPr/>
          <p:nvPr/>
        </p:nvCxnSpPr>
        <p:spPr>
          <a:xfrm>
            <a:off x="6517709" y="2993007"/>
            <a:ext cx="950582" cy="0"/>
          </a:xfrm>
          <a:prstGeom prst="straightConnector1">
            <a:avLst/>
          </a:prstGeom>
          <a:ln w="38100">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21" name="Straight Arrow Connector 120"/>
          <p:cNvCxnSpPr/>
          <p:nvPr/>
        </p:nvCxnSpPr>
        <p:spPr>
          <a:xfrm>
            <a:off x="10031529" y="2182252"/>
            <a:ext cx="432152" cy="0"/>
          </a:xfrm>
          <a:prstGeom prst="straightConnector1">
            <a:avLst/>
          </a:prstGeom>
          <a:ln w="38100">
            <a:solidFill>
              <a:schemeClr val="accent5"/>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22" name="Straight Arrow Connector 121"/>
          <p:cNvCxnSpPr>
            <a:stCxn id="120" idx="1"/>
          </p:cNvCxnSpPr>
          <p:nvPr/>
        </p:nvCxnSpPr>
        <p:spPr>
          <a:xfrm flipH="1">
            <a:off x="10066788" y="5149961"/>
            <a:ext cx="349028" cy="0"/>
          </a:xfrm>
          <a:prstGeom prst="straightConnector1">
            <a:avLst/>
          </a:prstGeom>
          <a:ln w="38100">
            <a:solidFill>
              <a:schemeClr val="accent4"/>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23" name="Straight Arrow Connector 122"/>
          <p:cNvCxnSpPr>
            <a:stCxn id="120" idx="1"/>
          </p:cNvCxnSpPr>
          <p:nvPr/>
        </p:nvCxnSpPr>
        <p:spPr>
          <a:xfrm flipH="1" flipV="1">
            <a:off x="10074606" y="4094281"/>
            <a:ext cx="341210" cy="1055680"/>
          </a:xfrm>
          <a:prstGeom prst="straightConnector1">
            <a:avLst/>
          </a:prstGeom>
          <a:ln w="38100">
            <a:solidFill>
              <a:schemeClr val="accent6"/>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24" name="Straight Arrow Connector 123"/>
          <p:cNvCxnSpPr/>
          <p:nvPr/>
        </p:nvCxnSpPr>
        <p:spPr>
          <a:xfrm>
            <a:off x="11717337" y="2725566"/>
            <a:ext cx="0" cy="368703"/>
          </a:xfrm>
          <a:prstGeom prst="straightConnector1">
            <a:avLst/>
          </a:prstGeom>
          <a:ln w="38100">
            <a:solidFill>
              <a:schemeClr val="accent6"/>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25" name="Straight Arrow Connector 124"/>
          <p:cNvCxnSpPr/>
          <p:nvPr/>
        </p:nvCxnSpPr>
        <p:spPr>
          <a:xfrm>
            <a:off x="10517176" y="2725566"/>
            <a:ext cx="1400" cy="1892249"/>
          </a:xfrm>
          <a:prstGeom prst="straightConnector1">
            <a:avLst/>
          </a:prstGeom>
          <a:ln w="38100">
            <a:solidFill>
              <a:schemeClr val="accent5"/>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26" name="Straight Arrow Connector 125"/>
          <p:cNvCxnSpPr/>
          <p:nvPr/>
        </p:nvCxnSpPr>
        <p:spPr>
          <a:xfrm flipV="1">
            <a:off x="11031704" y="4190940"/>
            <a:ext cx="0" cy="418072"/>
          </a:xfrm>
          <a:prstGeom prst="straightConnector1">
            <a:avLst/>
          </a:prstGeom>
          <a:ln w="38100">
            <a:solidFill>
              <a:schemeClr val="accent4"/>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28" name="Straight Arrow Connector 127"/>
          <p:cNvCxnSpPr/>
          <p:nvPr/>
        </p:nvCxnSpPr>
        <p:spPr>
          <a:xfrm flipV="1">
            <a:off x="11641218" y="4190942"/>
            <a:ext cx="0" cy="418070"/>
          </a:xfrm>
          <a:prstGeom prst="straightConnector1">
            <a:avLst/>
          </a:prstGeom>
          <a:ln w="38100">
            <a:solidFill>
              <a:schemeClr val="accent6"/>
            </a:solidFill>
            <a:headEnd type="none"/>
            <a:tailEnd type="triangle"/>
          </a:ln>
        </p:spPr>
        <p:style>
          <a:lnRef idx="2">
            <a:schemeClr val="accent1"/>
          </a:lnRef>
          <a:fillRef idx="0">
            <a:schemeClr val="accent1"/>
          </a:fillRef>
          <a:effectRef idx="1">
            <a:schemeClr val="accent1"/>
          </a:effectRef>
          <a:fontRef idx="minor">
            <a:schemeClr val="tx1"/>
          </a:fontRef>
        </p:style>
      </p:cxnSp>
      <p:grpSp>
        <p:nvGrpSpPr>
          <p:cNvPr id="4" name="Event Processor"/>
          <p:cNvGrpSpPr/>
          <p:nvPr/>
        </p:nvGrpSpPr>
        <p:grpSpPr>
          <a:xfrm>
            <a:off x="10463681" y="1942799"/>
            <a:ext cx="1769331" cy="725437"/>
            <a:chOff x="10463681" y="1942799"/>
            <a:chExt cx="1769331" cy="725437"/>
          </a:xfrm>
        </p:grpSpPr>
        <p:sp>
          <p:nvSpPr>
            <p:cNvPr id="118" name="Rectangle 117"/>
            <p:cNvSpPr/>
            <p:nvPr/>
          </p:nvSpPr>
          <p:spPr>
            <a:xfrm>
              <a:off x="10463681" y="1942799"/>
              <a:ext cx="1769331" cy="7254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Event </a:t>
              </a:r>
              <a:br>
                <a:rPr lang="en-US" sz="1100" dirty="0">
                  <a:solidFill>
                    <a:schemeClr val="tx1"/>
                  </a:solidFill>
                  <a:ea typeface="Segoe UI" pitchFamily="34" charset="0"/>
                  <a:cs typeface="Segoe UI" pitchFamily="34" charset="0"/>
                </a:rPr>
              </a:br>
              <a:r>
                <a:rPr lang="en-US" sz="1100" dirty="0">
                  <a:solidFill>
                    <a:schemeClr val="tx1"/>
                  </a:solidFill>
                  <a:ea typeface="Segoe UI" pitchFamily="34" charset="0"/>
                  <a:cs typeface="Segoe UI" pitchFamily="34" charset="0"/>
                </a:rPr>
                <a:t>Processor</a:t>
              </a:r>
            </a:p>
          </p:txBody>
        </p:sp>
        <p:grpSp>
          <p:nvGrpSpPr>
            <p:cNvPr id="129" name="Event processing"/>
            <p:cNvGrpSpPr/>
            <p:nvPr/>
          </p:nvGrpSpPr>
          <p:grpSpPr>
            <a:xfrm>
              <a:off x="11467444" y="2049893"/>
              <a:ext cx="504964" cy="511248"/>
              <a:chOff x="3876323" y="2412935"/>
              <a:chExt cx="981584" cy="1503227"/>
            </a:xfrm>
          </p:grpSpPr>
          <p:grpSp>
            <p:nvGrpSpPr>
              <p:cNvPr id="130" name="Group 129"/>
              <p:cNvGrpSpPr/>
              <p:nvPr/>
            </p:nvGrpSpPr>
            <p:grpSpPr>
              <a:xfrm>
                <a:off x="4075337" y="2655193"/>
                <a:ext cx="640701" cy="978962"/>
                <a:chOff x="3978978" y="2691315"/>
                <a:chExt cx="745467" cy="1374671"/>
              </a:xfrm>
            </p:grpSpPr>
            <p:sp>
              <p:nvSpPr>
                <p:cNvPr id="133" name="Rectangle 132"/>
                <p:cNvSpPr/>
                <p:nvPr>
                  <p:custDataLst>
                    <p:tags r:id="rId1"/>
                  </p:custDataLst>
                </p:nvPr>
              </p:nvSpPr>
              <p:spPr bwMode="auto">
                <a:xfrm>
                  <a:off x="3978978" y="269131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4" name="Rectangle 133"/>
                <p:cNvSpPr/>
                <p:nvPr>
                  <p:custDataLst>
                    <p:tags r:id="rId2"/>
                  </p:custDataLst>
                </p:nvPr>
              </p:nvSpPr>
              <p:spPr bwMode="auto">
                <a:xfrm>
                  <a:off x="4269686" y="2945333"/>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5" name="Rectangle 134"/>
                <p:cNvSpPr/>
                <p:nvPr>
                  <p:custDataLst>
                    <p:tags r:id="rId3"/>
                  </p:custDataLst>
                </p:nvPr>
              </p:nvSpPr>
              <p:spPr bwMode="auto">
                <a:xfrm>
                  <a:off x="3978978" y="3195771"/>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6" name="Rectangle 135"/>
                <p:cNvSpPr/>
                <p:nvPr>
                  <p:custDataLst>
                    <p:tags r:id="rId4"/>
                  </p:custDataLst>
                </p:nvPr>
              </p:nvSpPr>
              <p:spPr bwMode="auto">
                <a:xfrm>
                  <a:off x="4269686" y="3482449"/>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7" name="Rectangle 136"/>
                <p:cNvSpPr/>
                <p:nvPr>
                  <p:custDataLst>
                    <p:tags r:id="rId5"/>
                  </p:custDataLst>
                </p:nvPr>
              </p:nvSpPr>
              <p:spPr bwMode="auto">
                <a:xfrm>
                  <a:off x="3978978" y="3700226"/>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8" name="Rectangle 137"/>
                <p:cNvSpPr/>
                <p:nvPr>
                  <p:custDataLst>
                    <p:tags r:id="rId6"/>
                  </p:custDataLst>
                </p:nvPr>
              </p:nvSpPr>
              <p:spPr bwMode="auto">
                <a:xfrm>
                  <a:off x="4541565" y="319435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131" name="Freeform 130"/>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2" name="Freeform 131"/>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6" name="Command store"/>
          <p:cNvGrpSpPr/>
          <p:nvPr/>
        </p:nvGrpSpPr>
        <p:grpSpPr>
          <a:xfrm>
            <a:off x="11358270" y="3165977"/>
            <a:ext cx="876589" cy="967237"/>
            <a:chOff x="11358270" y="3165977"/>
            <a:chExt cx="876589" cy="967237"/>
          </a:xfrm>
        </p:grpSpPr>
        <p:sp>
          <p:nvSpPr>
            <p:cNvPr id="127" name="Command store"/>
            <p:cNvSpPr/>
            <p:nvPr/>
          </p:nvSpPr>
          <p:spPr>
            <a:xfrm>
              <a:off x="11358270" y="3165977"/>
              <a:ext cx="876589"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Command store</a:t>
              </a:r>
            </a:p>
          </p:txBody>
        </p:sp>
        <p:grpSp>
          <p:nvGrpSpPr>
            <p:cNvPr id="145" name="Group 144"/>
            <p:cNvGrpSpPr>
              <a:grpSpLocks noChangeAspect="1"/>
            </p:cNvGrpSpPr>
            <p:nvPr/>
          </p:nvGrpSpPr>
          <p:grpSpPr>
            <a:xfrm>
              <a:off x="11680944" y="3356931"/>
              <a:ext cx="218481" cy="289300"/>
              <a:chOff x="784225" y="4300538"/>
              <a:chExt cx="460376" cy="609600"/>
            </a:xfrm>
          </p:grpSpPr>
          <p:sp>
            <p:nvSpPr>
              <p:cNvPr id="146" name="Freeform 6"/>
              <p:cNvSpPr>
                <a:spLocks/>
              </p:cNvSpPr>
              <p:nvPr/>
            </p:nvSpPr>
            <p:spPr bwMode="auto">
              <a:xfrm>
                <a:off x="784225" y="4383088"/>
                <a:ext cx="460375" cy="527050"/>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rgbClr val="3999C6"/>
              </a:solidFill>
              <a:ln w="0">
                <a:solidFill>
                  <a:srgbClr val="3999C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7" name="Freeform 7"/>
              <p:cNvSpPr>
                <a:spLocks/>
              </p:cNvSpPr>
              <p:nvPr/>
            </p:nvSpPr>
            <p:spPr bwMode="auto">
              <a:xfrm>
                <a:off x="1011238" y="4383088"/>
                <a:ext cx="233363" cy="527050"/>
              </a:xfrm>
              <a:custGeom>
                <a:avLst/>
                <a:gdLst>
                  <a:gd name="T0" fmla="*/ 0 w 1321"/>
                  <a:gd name="T1" fmla="*/ 0 h 2984"/>
                  <a:gd name="T2" fmla="*/ 1321 w 1321"/>
                  <a:gd name="T3" fmla="*/ 0 h 2984"/>
                  <a:gd name="T4" fmla="*/ 1321 w 1321"/>
                  <a:gd name="T5" fmla="*/ 2512 h 2984"/>
                  <a:gd name="T6" fmla="*/ 1318 w 1321"/>
                  <a:gd name="T7" fmla="*/ 2547 h 2984"/>
                  <a:gd name="T8" fmla="*/ 1308 w 1321"/>
                  <a:gd name="T9" fmla="*/ 2582 h 2984"/>
                  <a:gd name="T10" fmla="*/ 1290 w 1321"/>
                  <a:gd name="T11" fmla="*/ 2615 h 2984"/>
                  <a:gd name="T12" fmla="*/ 1266 w 1321"/>
                  <a:gd name="T13" fmla="*/ 2648 h 2984"/>
                  <a:gd name="T14" fmla="*/ 1236 w 1321"/>
                  <a:gd name="T15" fmla="*/ 2680 h 2984"/>
                  <a:gd name="T16" fmla="*/ 1200 w 1321"/>
                  <a:gd name="T17" fmla="*/ 2711 h 2984"/>
                  <a:gd name="T18" fmla="*/ 1159 w 1321"/>
                  <a:gd name="T19" fmla="*/ 2740 h 2984"/>
                  <a:gd name="T20" fmla="*/ 1112 w 1321"/>
                  <a:gd name="T21" fmla="*/ 2769 h 2984"/>
                  <a:gd name="T22" fmla="*/ 1058 w 1321"/>
                  <a:gd name="T23" fmla="*/ 2795 h 2984"/>
                  <a:gd name="T24" fmla="*/ 1002 w 1321"/>
                  <a:gd name="T25" fmla="*/ 2822 h 2984"/>
                  <a:gd name="T26" fmla="*/ 939 w 1321"/>
                  <a:gd name="T27" fmla="*/ 2846 h 2984"/>
                  <a:gd name="T28" fmla="*/ 873 w 1321"/>
                  <a:gd name="T29" fmla="*/ 2868 h 2984"/>
                  <a:gd name="T30" fmla="*/ 802 w 1321"/>
                  <a:gd name="T31" fmla="*/ 2889 h 2984"/>
                  <a:gd name="T32" fmla="*/ 727 w 1321"/>
                  <a:gd name="T33" fmla="*/ 2908 h 2984"/>
                  <a:gd name="T34" fmla="*/ 649 w 1321"/>
                  <a:gd name="T35" fmla="*/ 2925 h 2984"/>
                  <a:gd name="T36" fmla="*/ 567 w 1321"/>
                  <a:gd name="T37" fmla="*/ 2940 h 2984"/>
                  <a:gd name="T38" fmla="*/ 482 w 1321"/>
                  <a:gd name="T39" fmla="*/ 2953 h 2984"/>
                  <a:gd name="T40" fmla="*/ 394 w 1321"/>
                  <a:gd name="T41" fmla="*/ 2964 h 2984"/>
                  <a:gd name="T42" fmla="*/ 303 w 1321"/>
                  <a:gd name="T43" fmla="*/ 2972 h 2984"/>
                  <a:gd name="T44" fmla="*/ 210 w 1321"/>
                  <a:gd name="T45" fmla="*/ 2979 h 2984"/>
                  <a:gd name="T46" fmla="*/ 115 w 1321"/>
                  <a:gd name="T47" fmla="*/ 2983 h 2984"/>
                  <a:gd name="T48" fmla="*/ 17 w 1321"/>
                  <a:gd name="T49" fmla="*/ 2984 h 2984"/>
                  <a:gd name="T50" fmla="*/ 0 w 1321"/>
                  <a:gd name="T51" fmla="*/ 2984 h 2984"/>
                  <a:gd name="T52" fmla="*/ 0 w 1321"/>
                  <a:gd name="T5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21" h="2984">
                    <a:moveTo>
                      <a:pt x="0" y="0"/>
                    </a:moveTo>
                    <a:lnTo>
                      <a:pt x="1321" y="0"/>
                    </a:lnTo>
                    <a:lnTo>
                      <a:pt x="1321" y="2512"/>
                    </a:lnTo>
                    <a:lnTo>
                      <a:pt x="1318" y="2547"/>
                    </a:lnTo>
                    <a:lnTo>
                      <a:pt x="1308" y="2582"/>
                    </a:lnTo>
                    <a:lnTo>
                      <a:pt x="1290" y="2615"/>
                    </a:lnTo>
                    <a:lnTo>
                      <a:pt x="1266" y="2648"/>
                    </a:lnTo>
                    <a:lnTo>
                      <a:pt x="1236" y="2680"/>
                    </a:lnTo>
                    <a:lnTo>
                      <a:pt x="1200" y="2711"/>
                    </a:lnTo>
                    <a:lnTo>
                      <a:pt x="1159" y="2740"/>
                    </a:lnTo>
                    <a:lnTo>
                      <a:pt x="1112" y="2769"/>
                    </a:lnTo>
                    <a:lnTo>
                      <a:pt x="1058" y="2795"/>
                    </a:lnTo>
                    <a:lnTo>
                      <a:pt x="1002" y="2822"/>
                    </a:lnTo>
                    <a:lnTo>
                      <a:pt x="939" y="2846"/>
                    </a:lnTo>
                    <a:lnTo>
                      <a:pt x="873" y="2868"/>
                    </a:lnTo>
                    <a:lnTo>
                      <a:pt x="802" y="2889"/>
                    </a:lnTo>
                    <a:lnTo>
                      <a:pt x="727" y="2908"/>
                    </a:lnTo>
                    <a:lnTo>
                      <a:pt x="649" y="2925"/>
                    </a:lnTo>
                    <a:lnTo>
                      <a:pt x="567" y="2940"/>
                    </a:lnTo>
                    <a:lnTo>
                      <a:pt x="482" y="2953"/>
                    </a:lnTo>
                    <a:lnTo>
                      <a:pt x="394" y="2964"/>
                    </a:lnTo>
                    <a:lnTo>
                      <a:pt x="303" y="2972"/>
                    </a:lnTo>
                    <a:lnTo>
                      <a:pt x="210" y="2979"/>
                    </a:lnTo>
                    <a:lnTo>
                      <a:pt x="115" y="2983"/>
                    </a:lnTo>
                    <a:lnTo>
                      <a:pt x="17" y="2984"/>
                    </a:lnTo>
                    <a:lnTo>
                      <a:pt x="0" y="2984"/>
                    </a:lnTo>
                    <a:lnTo>
                      <a:pt x="0" y="0"/>
                    </a:lnTo>
                    <a:close/>
                  </a:path>
                </a:pathLst>
              </a:custGeom>
              <a:solidFill>
                <a:srgbClr val="5AB4D9"/>
              </a:solidFill>
              <a:ln w="0">
                <a:solidFill>
                  <a:srgbClr val="5AB4D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8" name="Freeform 8"/>
              <p:cNvSpPr>
                <a:spLocks/>
              </p:cNvSpPr>
              <p:nvPr/>
            </p:nvSpPr>
            <p:spPr bwMode="auto">
              <a:xfrm>
                <a:off x="784225" y="4300538"/>
                <a:ext cx="460375" cy="166688"/>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9" name="Freeform 9"/>
              <p:cNvSpPr>
                <a:spLocks/>
              </p:cNvSpPr>
              <p:nvPr/>
            </p:nvSpPr>
            <p:spPr bwMode="auto">
              <a:xfrm>
                <a:off x="831850" y="4324351"/>
                <a:ext cx="365125" cy="109538"/>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8BBF0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0" name="Freeform 10"/>
              <p:cNvSpPr>
                <a:spLocks/>
              </p:cNvSpPr>
              <p:nvPr/>
            </p:nvSpPr>
            <p:spPr bwMode="auto">
              <a:xfrm>
                <a:off x="831850" y="4324351"/>
                <a:ext cx="365125" cy="88900"/>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B2D12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5" name="Device registry"/>
          <p:cNvGrpSpPr/>
          <p:nvPr/>
        </p:nvGrpSpPr>
        <p:grpSpPr>
          <a:xfrm>
            <a:off x="10560420" y="3171232"/>
            <a:ext cx="747684" cy="967237"/>
            <a:chOff x="10560420" y="3171232"/>
            <a:chExt cx="747684" cy="967237"/>
          </a:xfrm>
        </p:grpSpPr>
        <p:sp>
          <p:nvSpPr>
            <p:cNvPr id="119" name="Rectangle 118"/>
            <p:cNvSpPr/>
            <p:nvPr/>
          </p:nvSpPr>
          <p:spPr>
            <a:xfrm>
              <a:off x="10560420" y="3171232"/>
              <a:ext cx="747684"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Device registry</a:t>
              </a:r>
            </a:p>
          </p:txBody>
        </p:sp>
        <p:grpSp>
          <p:nvGrpSpPr>
            <p:cNvPr id="160" name="Group 159"/>
            <p:cNvGrpSpPr/>
            <p:nvPr/>
          </p:nvGrpSpPr>
          <p:grpSpPr>
            <a:xfrm>
              <a:off x="10802079" y="3295670"/>
              <a:ext cx="377464" cy="359180"/>
              <a:chOff x="11209667" y="1326560"/>
              <a:chExt cx="1287867" cy="1225483"/>
            </a:xfrm>
          </p:grpSpPr>
          <p:grpSp>
            <p:nvGrpSpPr>
              <p:cNvPr id="154" name="Group 153"/>
              <p:cNvGrpSpPr/>
              <p:nvPr/>
            </p:nvGrpSpPr>
            <p:grpSpPr>
              <a:xfrm>
                <a:off x="11209667" y="1326560"/>
                <a:ext cx="901749" cy="772996"/>
                <a:chOff x="11148003" y="2486796"/>
                <a:chExt cx="1527631" cy="1309513"/>
              </a:xfrm>
            </p:grpSpPr>
            <p:sp>
              <p:nvSpPr>
                <p:cNvPr id="155" name="Round Same Side Corner Rectangle 154"/>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56" name="Round Same Side Corner Rectangle 155"/>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grpSp>
          <p:grpSp>
            <p:nvGrpSpPr>
              <p:cNvPr id="157" name="Group 156"/>
              <p:cNvGrpSpPr/>
              <p:nvPr/>
            </p:nvGrpSpPr>
            <p:grpSpPr>
              <a:xfrm>
                <a:off x="11403194" y="1550235"/>
                <a:ext cx="900814" cy="772996"/>
                <a:chOff x="11148003" y="2486796"/>
                <a:chExt cx="1526047" cy="1309513"/>
              </a:xfrm>
            </p:grpSpPr>
            <p:sp>
              <p:nvSpPr>
                <p:cNvPr id="158" name="Round Same Side Corner Rectangle 157"/>
                <p:cNvSpPr/>
                <p:nvPr/>
              </p:nvSpPr>
              <p:spPr bwMode="auto">
                <a:xfrm>
                  <a:off x="11148006" y="2486796"/>
                  <a:ext cx="1526044" cy="1309513"/>
                </a:xfrm>
                <a:prstGeom prst="round2SameRect">
                  <a:avLst>
                    <a:gd name="adj1" fmla="val 5262"/>
                    <a:gd name="adj2" fmla="val 0"/>
                  </a:avLst>
                </a:prstGeom>
                <a:gradFill flip="none" rotWithShape="1">
                  <a:gsLst>
                    <a:gs pos="46000">
                      <a:srgbClr val="4CA3CC"/>
                    </a:gs>
                    <a:gs pos="46000">
                      <a:srgbClr val="45A2CF"/>
                    </a:gs>
                  </a:gsLst>
                  <a:lin ang="300000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59" name="Round Same Side Corner Rectangle 158"/>
                <p:cNvSpPr/>
                <p:nvPr/>
              </p:nvSpPr>
              <p:spPr bwMode="auto">
                <a:xfrm>
                  <a:off x="11148003" y="2486796"/>
                  <a:ext cx="1526044" cy="274703"/>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grpSp>
          <p:grpSp>
            <p:nvGrpSpPr>
              <p:cNvPr id="153" name="Group 152"/>
              <p:cNvGrpSpPr/>
              <p:nvPr/>
            </p:nvGrpSpPr>
            <p:grpSpPr>
              <a:xfrm>
                <a:off x="11595785" y="1779047"/>
                <a:ext cx="901749" cy="772996"/>
                <a:chOff x="11148003" y="2486796"/>
                <a:chExt cx="1527631" cy="1309513"/>
              </a:xfrm>
            </p:grpSpPr>
            <p:sp>
              <p:nvSpPr>
                <p:cNvPr id="151" name="Round Same Side Corner Rectangle 150"/>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52" name="Round Same Side Corner Rectangle 151"/>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grpSp>
        </p:grpSp>
      </p:grpSp>
      <p:grpSp>
        <p:nvGrpSpPr>
          <p:cNvPr id="7" name="Portal"/>
          <p:cNvGrpSpPr/>
          <p:nvPr/>
        </p:nvGrpSpPr>
        <p:grpSpPr>
          <a:xfrm>
            <a:off x="10415816" y="4666342"/>
            <a:ext cx="1817195" cy="967237"/>
            <a:chOff x="10415816" y="4666342"/>
            <a:chExt cx="1817195" cy="967237"/>
          </a:xfrm>
        </p:grpSpPr>
        <p:sp>
          <p:nvSpPr>
            <p:cNvPr id="120" name="Rectangle 119"/>
            <p:cNvSpPr/>
            <p:nvPr/>
          </p:nvSpPr>
          <p:spPr>
            <a:xfrm>
              <a:off x="10415816" y="4666342"/>
              <a:ext cx="1817195"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Portal</a:t>
              </a:r>
            </a:p>
          </p:txBody>
        </p:sp>
        <p:grpSp>
          <p:nvGrpSpPr>
            <p:cNvPr id="161" name="Group 160"/>
            <p:cNvGrpSpPr/>
            <p:nvPr/>
          </p:nvGrpSpPr>
          <p:grpSpPr>
            <a:xfrm>
              <a:off x="11167916" y="4822464"/>
              <a:ext cx="744447" cy="743692"/>
              <a:chOff x="6624319" y="2270080"/>
              <a:chExt cx="483564" cy="483072"/>
            </a:xfrm>
            <a:gradFill>
              <a:gsLst>
                <a:gs pos="41000">
                  <a:srgbClr val="5EB6DA"/>
                </a:gs>
                <a:gs pos="41000">
                  <a:srgbClr val="3999C6"/>
                </a:gs>
              </a:gsLst>
              <a:lin ang="7800000" scaled="0"/>
            </a:gradFill>
          </p:grpSpPr>
          <p:sp>
            <p:nvSpPr>
              <p:cNvPr id="162" name="Freeform 6"/>
              <p:cNvSpPr>
                <a:spLocks/>
              </p:cNvSpPr>
              <p:nvPr/>
            </p:nvSpPr>
            <p:spPr bwMode="auto">
              <a:xfrm flipH="1" flipV="1">
                <a:off x="6988651" y="2543452"/>
                <a:ext cx="105956" cy="141357"/>
              </a:xfrm>
              <a:custGeom>
                <a:avLst/>
                <a:gdLst>
                  <a:gd name="T0" fmla="*/ 495 w 861"/>
                  <a:gd name="T1" fmla="*/ 0 h 1149"/>
                  <a:gd name="T2" fmla="*/ 825 w 861"/>
                  <a:gd name="T3" fmla="*/ 72 h 1149"/>
                  <a:gd name="T4" fmla="*/ 861 w 861"/>
                  <a:gd name="T5" fmla="*/ 408 h 1149"/>
                  <a:gd name="T6" fmla="*/ 848 w 861"/>
                  <a:gd name="T7" fmla="*/ 420 h 1149"/>
                  <a:gd name="T8" fmla="*/ 801 w 861"/>
                  <a:gd name="T9" fmla="*/ 355 h 1149"/>
                  <a:gd name="T10" fmla="*/ 733 w 861"/>
                  <a:gd name="T11" fmla="*/ 428 h 1149"/>
                  <a:gd name="T12" fmla="*/ 670 w 861"/>
                  <a:gd name="T13" fmla="*/ 505 h 1149"/>
                  <a:gd name="T14" fmla="*/ 611 w 861"/>
                  <a:gd name="T15" fmla="*/ 587 h 1149"/>
                  <a:gd name="T16" fmla="*/ 558 w 861"/>
                  <a:gd name="T17" fmla="*/ 672 h 1149"/>
                  <a:gd name="T18" fmla="*/ 511 w 861"/>
                  <a:gd name="T19" fmla="*/ 761 h 1149"/>
                  <a:gd name="T20" fmla="*/ 469 w 861"/>
                  <a:gd name="T21" fmla="*/ 853 h 1149"/>
                  <a:gd name="T22" fmla="*/ 433 w 861"/>
                  <a:gd name="T23" fmla="*/ 949 h 1149"/>
                  <a:gd name="T24" fmla="*/ 403 w 861"/>
                  <a:gd name="T25" fmla="*/ 1047 h 1149"/>
                  <a:gd name="T26" fmla="*/ 380 w 861"/>
                  <a:gd name="T27" fmla="*/ 1149 h 1149"/>
                  <a:gd name="T28" fmla="*/ 207 w 861"/>
                  <a:gd name="T29" fmla="*/ 981 h 1149"/>
                  <a:gd name="T30" fmla="*/ 0 w 861"/>
                  <a:gd name="T31" fmla="*/ 1090 h 1149"/>
                  <a:gd name="T32" fmla="*/ 22 w 861"/>
                  <a:gd name="T33" fmla="*/ 983 h 1149"/>
                  <a:gd name="T34" fmla="*/ 51 w 861"/>
                  <a:gd name="T35" fmla="*/ 878 h 1149"/>
                  <a:gd name="T36" fmla="*/ 86 w 861"/>
                  <a:gd name="T37" fmla="*/ 776 h 1149"/>
                  <a:gd name="T38" fmla="*/ 125 w 861"/>
                  <a:gd name="T39" fmla="*/ 676 h 1149"/>
                  <a:gd name="T40" fmla="*/ 171 w 861"/>
                  <a:gd name="T41" fmla="*/ 579 h 1149"/>
                  <a:gd name="T42" fmla="*/ 221 w 861"/>
                  <a:gd name="T43" fmla="*/ 485 h 1149"/>
                  <a:gd name="T44" fmla="*/ 277 w 861"/>
                  <a:gd name="T45" fmla="*/ 394 h 1149"/>
                  <a:gd name="T46" fmla="*/ 337 w 861"/>
                  <a:gd name="T47" fmla="*/ 307 h 1149"/>
                  <a:gd name="T48" fmla="*/ 402 w 861"/>
                  <a:gd name="T49" fmla="*/ 224 h 1149"/>
                  <a:gd name="T50" fmla="*/ 471 w 861"/>
                  <a:gd name="T51" fmla="*/ 144 h 1149"/>
                  <a:gd name="T52" fmla="*/ 545 w 861"/>
                  <a:gd name="T53" fmla="*/ 67 h 1149"/>
                  <a:gd name="T54" fmla="*/ 482 w 861"/>
                  <a:gd name="T55" fmla="*/ 12 h 1149"/>
                  <a:gd name="T56" fmla="*/ 495 w 861"/>
                  <a:gd name="T57"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1" h="1149">
                    <a:moveTo>
                      <a:pt x="495" y="0"/>
                    </a:moveTo>
                    <a:lnTo>
                      <a:pt x="825" y="72"/>
                    </a:lnTo>
                    <a:lnTo>
                      <a:pt x="861" y="408"/>
                    </a:lnTo>
                    <a:lnTo>
                      <a:pt x="848" y="420"/>
                    </a:lnTo>
                    <a:lnTo>
                      <a:pt x="801" y="355"/>
                    </a:lnTo>
                    <a:lnTo>
                      <a:pt x="733" y="428"/>
                    </a:lnTo>
                    <a:lnTo>
                      <a:pt x="670" y="505"/>
                    </a:lnTo>
                    <a:lnTo>
                      <a:pt x="611" y="587"/>
                    </a:lnTo>
                    <a:lnTo>
                      <a:pt x="558" y="672"/>
                    </a:lnTo>
                    <a:lnTo>
                      <a:pt x="511" y="761"/>
                    </a:lnTo>
                    <a:lnTo>
                      <a:pt x="469" y="853"/>
                    </a:lnTo>
                    <a:lnTo>
                      <a:pt x="433" y="949"/>
                    </a:lnTo>
                    <a:lnTo>
                      <a:pt x="403" y="1047"/>
                    </a:lnTo>
                    <a:lnTo>
                      <a:pt x="380" y="1149"/>
                    </a:lnTo>
                    <a:lnTo>
                      <a:pt x="207" y="981"/>
                    </a:lnTo>
                    <a:lnTo>
                      <a:pt x="0" y="1090"/>
                    </a:lnTo>
                    <a:lnTo>
                      <a:pt x="22" y="983"/>
                    </a:lnTo>
                    <a:lnTo>
                      <a:pt x="51" y="878"/>
                    </a:lnTo>
                    <a:lnTo>
                      <a:pt x="86" y="776"/>
                    </a:lnTo>
                    <a:lnTo>
                      <a:pt x="125" y="676"/>
                    </a:lnTo>
                    <a:lnTo>
                      <a:pt x="171" y="579"/>
                    </a:lnTo>
                    <a:lnTo>
                      <a:pt x="221" y="485"/>
                    </a:lnTo>
                    <a:lnTo>
                      <a:pt x="277" y="394"/>
                    </a:lnTo>
                    <a:lnTo>
                      <a:pt x="337" y="307"/>
                    </a:lnTo>
                    <a:lnTo>
                      <a:pt x="402" y="224"/>
                    </a:lnTo>
                    <a:lnTo>
                      <a:pt x="471" y="144"/>
                    </a:lnTo>
                    <a:lnTo>
                      <a:pt x="545" y="67"/>
                    </a:lnTo>
                    <a:lnTo>
                      <a:pt x="482" y="12"/>
                    </a:lnTo>
                    <a:lnTo>
                      <a:pt x="495"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63" name="Freeform 7"/>
              <p:cNvSpPr>
                <a:spLocks/>
              </p:cNvSpPr>
              <p:nvPr/>
            </p:nvSpPr>
            <p:spPr bwMode="auto">
              <a:xfrm flipH="1" flipV="1">
                <a:off x="6855653" y="2654325"/>
                <a:ext cx="157337" cy="98827"/>
              </a:xfrm>
              <a:custGeom>
                <a:avLst/>
                <a:gdLst>
                  <a:gd name="T0" fmla="*/ 1071 w 1279"/>
                  <a:gd name="T1" fmla="*/ 0 h 804"/>
                  <a:gd name="T2" fmla="*/ 1279 w 1279"/>
                  <a:gd name="T3" fmla="*/ 267 h 804"/>
                  <a:gd name="T4" fmla="*/ 1090 w 1279"/>
                  <a:gd name="T5" fmla="*/ 549 h 804"/>
                  <a:gd name="T6" fmla="*/ 1072 w 1279"/>
                  <a:gd name="T7" fmla="*/ 549 h 804"/>
                  <a:gd name="T8" fmla="*/ 1079 w 1279"/>
                  <a:gd name="T9" fmla="*/ 467 h 804"/>
                  <a:gd name="T10" fmla="*/ 976 w 1279"/>
                  <a:gd name="T11" fmla="*/ 480 h 804"/>
                  <a:gd name="T12" fmla="*/ 876 w 1279"/>
                  <a:gd name="T13" fmla="*/ 499 h 804"/>
                  <a:gd name="T14" fmla="*/ 779 w 1279"/>
                  <a:gd name="T15" fmla="*/ 526 h 804"/>
                  <a:gd name="T16" fmla="*/ 683 w 1279"/>
                  <a:gd name="T17" fmla="*/ 558 h 804"/>
                  <a:gd name="T18" fmla="*/ 591 w 1279"/>
                  <a:gd name="T19" fmla="*/ 596 h 804"/>
                  <a:gd name="T20" fmla="*/ 502 w 1279"/>
                  <a:gd name="T21" fmla="*/ 641 h 804"/>
                  <a:gd name="T22" fmla="*/ 416 w 1279"/>
                  <a:gd name="T23" fmla="*/ 690 h 804"/>
                  <a:gd name="T24" fmla="*/ 334 w 1279"/>
                  <a:gd name="T25" fmla="*/ 745 h 804"/>
                  <a:gd name="T26" fmla="*/ 256 w 1279"/>
                  <a:gd name="T27" fmla="*/ 804 h 804"/>
                  <a:gd name="T28" fmla="*/ 231 w 1279"/>
                  <a:gd name="T29" fmla="*/ 565 h 804"/>
                  <a:gd name="T30" fmla="*/ 0 w 1279"/>
                  <a:gd name="T31" fmla="*/ 516 h 804"/>
                  <a:gd name="T32" fmla="*/ 81 w 1279"/>
                  <a:gd name="T33" fmla="*/ 452 h 804"/>
                  <a:gd name="T34" fmla="*/ 167 w 1279"/>
                  <a:gd name="T35" fmla="*/ 392 h 804"/>
                  <a:gd name="T36" fmla="*/ 256 w 1279"/>
                  <a:gd name="T37" fmla="*/ 337 h 804"/>
                  <a:gd name="T38" fmla="*/ 348 w 1279"/>
                  <a:gd name="T39" fmla="*/ 286 h 804"/>
                  <a:gd name="T40" fmla="*/ 444 w 1279"/>
                  <a:gd name="T41" fmla="*/ 241 h 804"/>
                  <a:gd name="T42" fmla="*/ 541 w 1279"/>
                  <a:gd name="T43" fmla="*/ 200 h 804"/>
                  <a:gd name="T44" fmla="*/ 641 w 1279"/>
                  <a:gd name="T45" fmla="*/ 165 h 804"/>
                  <a:gd name="T46" fmla="*/ 744 w 1279"/>
                  <a:gd name="T47" fmla="*/ 135 h 804"/>
                  <a:gd name="T48" fmla="*/ 849 w 1279"/>
                  <a:gd name="T49" fmla="*/ 111 h 804"/>
                  <a:gd name="T50" fmla="*/ 957 w 1279"/>
                  <a:gd name="T51" fmla="*/ 93 h 804"/>
                  <a:gd name="T52" fmla="*/ 1066 w 1279"/>
                  <a:gd name="T53" fmla="*/ 81 h 804"/>
                  <a:gd name="T54" fmla="*/ 1053 w 1279"/>
                  <a:gd name="T55" fmla="*/ 0 h 804"/>
                  <a:gd name="T56" fmla="*/ 1071 w 1279"/>
                  <a:gd name="T5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79" h="804">
                    <a:moveTo>
                      <a:pt x="1071" y="0"/>
                    </a:moveTo>
                    <a:lnTo>
                      <a:pt x="1279" y="267"/>
                    </a:lnTo>
                    <a:lnTo>
                      <a:pt x="1090" y="549"/>
                    </a:lnTo>
                    <a:lnTo>
                      <a:pt x="1072" y="549"/>
                    </a:lnTo>
                    <a:lnTo>
                      <a:pt x="1079" y="467"/>
                    </a:lnTo>
                    <a:lnTo>
                      <a:pt x="976" y="480"/>
                    </a:lnTo>
                    <a:lnTo>
                      <a:pt x="876" y="499"/>
                    </a:lnTo>
                    <a:lnTo>
                      <a:pt x="779" y="526"/>
                    </a:lnTo>
                    <a:lnTo>
                      <a:pt x="683" y="558"/>
                    </a:lnTo>
                    <a:lnTo>
                      <a:pt x="591" y="596"/>
                    </a:lnTo>
                    <a:lnTo>
                      <a:pt x="502" y="641"/>
                    </a:lnTo>
                    <a:lnTo>
                      <a:pt x="416" y="690"/>
                    </a:lnTo>
                    <a:lnTo>
                      <a:pt x="334" y="745"/>
                    </a:lnTo>
                    <a:lnTo>
                      <a:pt x="256" y="804"/>
                    </a:lnTo>
                    <a:lnTo>
                      <a:pt x="231" y="565"/>
                    </a:lnTo>
                    <a:lnTo>
                      <a:pt x="0" y="516"/>
                    </a:lnTo>
                    <a:lnTo>
                      <a:pt x="81" y="452"/>
                    </a:lnTo>
                    <a:lnTo>
                      <a:pt x="167" y="392"/>
                    </a:lnTo>
                    <a:lnTo>
                      <a:pt x="256" y="337"/>
                    </a:lnTo>
                    <a:lnTo>
                      <a:pt x="348" y="286"/>
                    </a:lnTo>
                    <a:lnTo>
                      <a:pt x="444" y="241"/>
                    </a:lnTo>
                    <a:lnTo>
                      <a:pt x="541" y="200"/>
                    </a:lnTo>
                    <a:lnTo>
                      <a:pt x="641" y="165"/>
                    </a:lnTo>
                    <a:lnTo>
                      <a:pt x="744" y="135"/>
                    </a:lnTo>
                    <a:lnTo>
                      <a:pt x="849" y="111"/>
                    </a:lnTo>
                    <a:lnTo>
                      <a:pt x="957" y="93"/>
                    </a:lnTo>
                    <a:lnTo>
                      <a:pt x="1066" y="81"/>
                    </a:lnTo>
                    <a:lnTo>
                      <a:pt x="1053" y="0"/>
                    </a:lnTo>
                    <a:lnTo>
                      <a:pt x="1071"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64" name="Freeform 8"/>
              <p:cNvSpPr>
                <a:spLocks/>
              </p:cNvSpPr>
              <p:nvPr/>
            </p:nvSpPr>
            <p:spPr bwMode="auto">
              <a:xfrm flipH="1" flipV="1">
                <a:off x="7027985" y="2391278"/>
                <a:ext cx="79898" cy="160532"/>
              </a:xfrm>
              <a:custGeom>
                <a:avLst/>
                <a:gdLst>
                  <a:gd name="T0" fmla="*/ 301 w 651"/>
                  <a:gd name="T1" fmla="*/ 0 h 1305"/>
                  <a:gd name="T2" fmla="*/ 546 w 651"/>
                  <a:gd name="T3" fmla="*/ 236 h 1305"/>
                  <a:gd name="T4" fmla="*/ 543 w 651"/>
                  <a:gd name="T5" fmla="*/ 254 h 1305"/>
                  <a:gd name="T6" fmla="*/ 465 w 651"/>
                  <a:gd name="T7" fmla="*/ 232 h 1305"/>
                  <a:gd name="T8" fmla="*/ 462 w 651"/>
                  <a:gd name="T9" fmla="*/ 295 h 1305"/>
                  <a:gd name="T10" fmla="*/ 461 w 651"/>
                  <a:gd name="T11" fmla="*/ 360 h 1305"/>
                  <a:gd name="T12" fmla="*/ 463 w 651"/>
                  <a:gd name="T13" fmla="*/ 461 h 1305"/>
                  <a:gd name="T14" fmla="*/ 473 w 651"/>
                  <a:gd name="T15" fmla="*/ 559 h 1305"/>
                  <a:gd name="T16" fmla="*/ 488 w 651"/>
                  <a:gd name="T17" fmla="*/ 656 h 1305"/>
                  <a:gd name="T18" fmla="*/ 510 w 651"/>
                  <a:gd name="T19" fmla="*/ 751 h 1305"/>
                  <a:gd name="T20" fmla="*/ 537 w 651"/>
                  <a:gd name="T21" fmla="*/ 843 h 1305"/>
                  <a:gd name="T22" fmla="*/ 569 w 651"/>
                  <a:gd name="T23" fmla="*/ 931 h 1305"/>
                  <a:gd name="T24" fmla="*/ 608 w 651"/>
                  <a:gd name="T25" fmla="*/ 1019 h 1305"/>
                  <a:gd name="T26" fmla="*/ 651 w 651"/>
                  <a:gd name="T27" fmla="*/ 1103 h 1305"/>
                  <a:gd name="T28" fmla="*/ 412 w 651"/>
                  <a:gd name="T29" fmla="*/ 1086 h 1305"/>
                  <a:gd name="T30" fmla="*/ 322 w 651"/>
                  <a:gd name="T31" fmla="*/ 1305 h 1305"/>
                  <a:gd name="T32" fmla="*/ 273 w 651"/>
                  <a:gd name="T33" fmla="*/ 1211 h 1305"/>
                  <a:gd name="T34" fmla="*/ 227 w 651"/>
                  <a:gd name="T35" fmla="*/ 1114 h 1305"/>
                  <a:gd name="T36" fmla="*/ 188 w 651"/>
                  <a:gd name="T37" fmla="*/ 1013 h 1305"/>
                  <a:gd name="T38" fmla="*/ 154 w 651"/>
                  <a:gd name="T39" fmla="*/ 910 h 1305"/>
                  <a:gd name="T40" fmla="*/ 127 w 651"/>
                  <a:gd name="T41" fmla="*/ 805 h 1305"/>
                  <a:gd name="T42" fmla="*/ 104 w 651"/>
                  <a:gd name="T43" fmla="*/ 696 h 1305"/>
                  <a:gd name="T44" fmla="*/ 89 w 651"/>
                  <a:gd name="T45" fmla="*/ 587 h 1305"/>
                  <a:gd name="T46" fmla="*/ 78 w 651"/>
                  <a:gd name="T47" fmla="*/ 474 h 1305"/>
                  <a:gd name="T48" fmla="*/ 75 w 651"/>
                  <a:gd name="T49" fmla="*/ 360 h 1305"/>
                  <a:gd name="T50" fmla="*/ 78 w 651"/>
                  <a:gd name="T51" fmla="*/ 268 h 1305"/>
                  <a:gd name="T52" fmla="*/ 84 w 651"/>
                  <a:gd name="T53" fmla="*/ 177 h 1305"/>
                  <a:gd name="T54" fmla="*/ 0 w 651"/>
                  <a:gd name="T55" fmla="*/ 176 h 1305"/>
                  <a:gd name="T56" fmla="*/ 2 w 651"/>
                  <a:gd name="T57" fmla="*/ 158 h 1305"/>
                  <a:gd name="T58" fmla="*/ 301 w 651"/>
                  <a:gd name="T59" fmla="*/ 0 h 1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51" h="1305">
                    <a:moveTo>
                      <a:pt x="301" y="0"/>
                    </a:moveTo>
                    <a:lnTo>
                      <a:pt x="546" y="236"/>
                    </a:lnTo>
                    <a:lnTo>
                      <a:pt x="543" y="254"/>
                    </a:lnTo>
                    <a:lnTo>
                      <a:pt x="465" y="232"/>
                    </a:lnTo>
                    <a:lnTo>
                      <a:pt x="462" y="295"/>
                    </a:lnTo>
                    <a:lnTo>
                      <a:pt x="461" y="360"/>
                    </a:lnTo>
                    <a:lnTo>
                      <a:pt x="463" y="461"/>
                    </a:lnTo>
                    <a:lnTo>
                      <a:pt x="473" y="559"/>
                    </a:lnTo>
                    <a:lnTo>
                      <a:pt x="488" y="656"/>
                    </a:lnTo>
                    <a:lnTo>
                      <a:pt x="510" y="751"/>
                    </a:lnTo>
                    <a:lnTo>
                      <a:pt x="537" y="843"/>
                    </a:lnTo>
                    <a:lnTo>
                      <a:pt x="569" y="931"/>
                    </a:lnTo>
                    <a:lnTo>
                      <a:pt x="608" y="1019"/>
                    </a:lnTo>
                    <a:lnTo>
                      <a:pt x="651" y="1103"/>
                    </a:lnTo>
                    <a:lnTo>
                      <a:pt x="412" y="1086"/>
                    </a:lnTo>
                    <a:lnTo>
                      <a:pt x="322" y="1305"/>
                    </a:lnTo>
                    <a:lnTo>
                      <a:pt x="273" y="1211"/>
                    </a:lnTo>
                    <a:lnTo>
                      <a:pt x="227" y="1114"/>
                    </a:lnTo>
                    <a:lnTo>
                      <a:pt x="188" y="1013"/>
                    </a:lnTo>
                    <a:lnTo>
                      <a:pt x="154" y="910"/>
                    </a:lnTo>
                    <a:lnTo>
                      <a:pt x="127" y="805"/>
                    </a:lnTo>
                    <a:lnTo>
                      <a:pt x="104" y="696"/>
                    </a:lnTo>
                    <a:lnTo>
                      <a:pt x="89" y="587"/>
                    </a:lnTo>
                    <a:lnTo>
                      <a:pt x="78" y="474"/>
                    </a:lnTo>
                    <a:lnTo>
                      <a:pt x="75" y="360"/>
                    </a:lnTo>
                    <a:lnTo>
                      <a:pt x="78" y="268"/>
                    </a:lnTo>
                    <a:lnTo>
                      <a:pt x="84" y="177"/>
                    </a:lnTo>
                    <a:lnTo>
                      <a:pt x="0" y="176"/>
                    </a:lnTo>
                    <a:lnTo>
                      <a:pt x="2" y="158"/>
                    </a:lnTo>
                    <a:lnTo>
                      <a:pt x="301"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65" name="Freeform 9"/>
              <p:cNvSpPr>
                <a:spLocks/>
              </p:cNvSpPr>
              <p:nvPr/>
            </p:nvSpPr>
            <p:spPr bwMode="auto">
              <a:xfrm flipH="1" flipV="1">
                <a:off x="6658245" y="2282372"/>
                <a:ext cx="139390" cy="126607"/>
              </a:xfrm>
              <a:custGeom>
                <a:avLst/>
                <a:gdLst>
                  <a:gd name="T0" fmla="*/ 788 w 1133"/>
                  <a:gd name="T1" fmla="*/ 0 h 1029"/>
                  <a:gd name="T2" fmla="*/ 888 w 1133"/>
                  <a:gd name="T3" fmla="*/ 206 h 1029"/>
                  <a:gd name="T4" fmla="*/ 1133 w 1133"/>
                  <a:gd name="T5" fmla="*/ 173 h 1029"/>
                  <a:gd name="T6" fmla="*/ 1076 w 1133"/>
                  <a:gd name="T7" fmla="*/ 264 h 1029"/>
                  <a:gd name="T8" fmla="*/ 1014 w 1133"/>
                  <a:gd name="T9" fmla="*/ 353 h 1029"/>
                  <a:gd name="T10" fmla="*/ 947 w 1133"/>
                  <a:gd name="T11" fmla="*/ 436 h 1029"/>
                  <a:gd name="T12" fmla="*/ 875 w 1133"/>
                  <a:gd name="T13" fmla="*/ 517 h 1029"/>
                  <a:gd name="T14" fmla="*/ 799 w 1133"/>
                  <a:gd name="T15" fmla="*/ 593 h 1029"/>
                  <a:gd name="T16" fmla="*/ 721 w 1133"/>
                  <a:gd name="T17" fmla="*/ 665 h 1029"/>
                  <a:gd name="T18" fmla="*/ 636 w 1133"/>
                  <a:gd name="T19" fmla="*/ 732 h 1029"/>
                  <a:gd name="T20" fmla="*/ 548 w 1133"/>
                  <a:gd name="T21" fmla="*/ 796 h 1029"/>
                  <a:gd name="T22" fmla="*/ 457 w 1133"/>
                  <a:gd name="T23" fmla="*/ 853 h 1029"/>
                  <a:gd name="T24" fmla="*/ 363 w 1133"/>
                  <a:gd name="T25" fmla="*/ 906 h 1029"/>
                  <a:gd name="T26" fmla="*/ 266 w 1133"/>
                  <a:gd name="T27" fmla="*/ 954 h 1029"/>
                  <a:gd name="T28" fmla="*/ 304 w 1133"/>
                  <a:gd name="T29" fmla="*/ 1022 h 1029"/>
                  <a:gd name="T30" fmla="*/ 287 w 1133"/>
                  <a:gd name="T31" fmla="*/ 1029 h 1029"/>
                  <a:gd name="T32" fmla="*/ 0 w 1133"/>
                  <a:gd name="T33" fmla="*/ 850 h 1029"/>
                  <a:gd name="T34" fmla="*/ 83 w 1133"/>
                  <a:gd name="T35" fmla="*/ 520 h 1029"/>
                  <a:gd name="T36" fmla="*/ 100 w 1133"/>
                  <a:gd name="T37" fmla="*/ 513 h 1029"/>
                  <a:gd name="T38" fmla="*/ 121 w 1133"/>
                  <a:gd name="T39" fmla="*/ 596 h 1029"/>
                  <a:gd name="T40" fmla="*/ 211 w 1133"/>
                  <a:gd name="T41" fmla="*/ 550 h 1029"/>
                  <a:gd name="T42" fmla="*/ 298 w 1133"/>
                  <a:gd name="T43" fmla="*/ 499 h 1029"/>
                  <a:gd name="T44" fmla="*/ 382 w 1133"/>
                  <a:gd name="T45" fmla="*/ 442 h 1029"/>
                  <a:gd name="T46" fmla="*/ 461 w 1133"/>
                  <a:gd name="T47" fmla="*/ 380 h 1029"/>
                  <a:gd name="T48" fmla="*/ 536 w 1133"/>
                  <a:gd name="T49" fmla="*/ 313 h 1029"/>
                  <a:gd name="T50" fmla="*/ 606 w 1133"/>
                  <a:gd name="T51" fmla="*/ 241 h 1029"/>
                  <a:gd name="T52" fmla="*/ 671 w 1133"/>
                  <a:gd name="T53" fmla="*/ 165 h 1029"/>
                  <a:gd name="T54" fmla="*/ 733 w 1133"/>
                  <a:gd name="T55" fmla="*/ 84 h 1029"/>
                  <a:gd name="T56" fmla="*/ 788 w 1133"/>
                  <a:gd name="T5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33" h="1029">
                    <a:moveTo>
                      <a:pt x="788" y="0"/>
                    </a:moveTo>
                    <a:lnTo>
                      <a:pt x="888" y="206"/>
                    </a:lnTo>
                    <a:lnTo>
                      <a:pt x="1133" y="173"/>
                    </a:lnTo>
                    <a:lnTo>
                      <a:pt x="1076" y="264"/>
                    </a:lnTo>
                    <a:lnTo>
                      <a:pt x="1014" y="353"/>
                    </a:lnTo>
                    <a:lnTo>
                      <a:pt x="947" y="436"/>
                    </a:lnTo>
                    <a:lnTo>
                      <a:pt x="875" y="517"/>
                    </a:lnTo>
                    <a:lnTo>
                      <a:pt x="799" y="593"/>
                    </a:lnTo>
                    <a:lnTo>
                      <a:pt x="721" y="665"/>
                    </a:lnTo>
                    <a:lnTo>
                      <a:pt x="636" y="732"/>
                    </a:lnTo>
                    <a:lnTo>
                      <a:pt x="548" y="796"/>
                    </a:lnTo>
                    <a:lnTo>
                      <a:pt x="457" y="853"/>
                    </a:lnTo>
                    <a:lnTo>
                      <a:pt x="363" y="906"/>
                    </a:lnTo>
                    <a:lnTo>
                      <a:pt x="266" y="954"/>
                    </a:lnTo>
                    <a:lnTo>
                      <a:pt x="304" y="1022"/>
                    </a:lnTo>
                    <a:lnTo>
                      <a:pt x="287" y="1029"/>
                    </a:lnTo>
                    <a:lnTo>
                      <a:pt x="0" y="850"/>
                    </a:lnTo>
                    <a:lnTo>
                      <a:pt x="83" y="520"/>
                    </a:lnTo>
                    <a:lnTo>
                      <a:pt x="100" y="513"/>
                    </a:lnTo>
                    <a:lnTo>
                      <a:pt x="121" y="596"/>
                    </a:lnTo>
                    <a:lnTo>
                      <a:pt x="211" y="550"/>
                    </a:lnTo>
                    <a:lnTo>
                      <a:pt x="298" y="499"/>
                    </a:lnTo>
                    <a:lnTo>
                      <a:pt x="382" y="442"/>
                    </a:lnTo>
                    <a:lnTo>
                      <a:pt x="461" y="380"/>
                    </a:lnTo>
                    <a:lnTo>
                      <a:pt x="536" y="313"/>
                    </a:lnTo>
                    <a:lnTo>
                      <a:pt x="606" y="241"/>
                    </a:lnTo>
                    <a:lnTo>
                      <a:pt x="671" y="165"/>
                    </a:lnTo>
                    <a:lnTo>
                      <a:pt x="733" y="84"/>
                    </a:lnTo>
                    <a:lnTo>
                      <a:pt x="788"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66" name="Freeform 10"/>
              <p:cNvSpPr>
                <a:spLocks/>
              </p:cNvSpPr>
              <p:nvPr/>
            </p:nvSpPr>
            <p:spPr bwMode="auto">
              <a:xfrm flipH="1" flipV="1">
                <a:off x="6626040" y="2393982"/>
                <a:ext cx="75227" cy="153403"/>
              </a:xfrm>
              <a:custGeom>
                <a:avLst/>
                <a:gdLst>
                  <a:gd name="T0" fmla="*/ 585 w 612"/>
                  <a:gd name="T1" fmla="*/ 0 h 1248"/>
                  <a:gd name="T2" fmla="*/ 601 w 612"/>
                  <a:gd name="T3" fmla="*/ 108 h 1248"/>
                  <a:gd name="T4" fmla="*/ 610 w 612"/>
                  <a:gd name="T5" fmla="*/ 216 h 1248"/>
                  <a:gd name="T6" fmla="*/ 612 w 612"/>
                  <a:gd name="T7" fmla="*/ 326 h 1248"/>
                  <a:gd name="T8" fmla="*/ 610 w 612"/>
                  <a:gd name="T9" fmla="*/ 438 h 1248"/>
                  <a:gd name="T10" fmla="*/ 601 w 612"/>
                  <a:gd name="T11" fmla="*/ 547 h 1248"/>
                  <a:gd name="T12" fmla="*/ 585 w 612"/>
                  <a:gd name="T13" fmla="*/ 654 h 1248"/>
                  <a:gd name="T14" fmla="*/ 563 w 612"/>
                  <a:gd name="T15" fmla="*/ 761 h 1248"/>
                  <a:gd name="T16" fmla="*/ 537 w 612"/>
                  <a:gd name="T17" fmla="*/ 864 h 1248"/>
                  <a:gd name="T18" fmla="*/ 504 w 612"/>
                  <a:gd name="T19" fmla="*/ 965 h 1248"/>
                  <a:gd name="T20" fmla="*/ 467 w 612"/>
                  <a:gd name="T21" fmla="*/ 1064 h 1248"/>
                  <a:gd name="T22" fmla="*/ 423 w 612"/>
                  <a:gd name="T23" fmla="*/ 1160 h 1248"/>
                  <a:gd name="T24" fmla="*/ 492 w 612"/>
                  <a:gd name="T25" fmla="*/ 1186 h 1248"/>
                  <a:gd name="T26" fmla="*/ 483 w 612"/>
                  <a:gd name="T27" fmla="*/ 1202 h 1248"/>
                  <a:gd name="T28" fmla="*/ 149 w 612"/>
                  <a:gd name="T29" fmla="*/ 1248 h 1248"/>
                  <a:gd name="T30" fmla="*/ 0 w 612"/>
                  <a:gd name="T31" fmla="*/ 943 h 1248"/>
                  <a:gd name="T32" fmla="*/ 8 w 612"/>
                  <a:gd name="T33" fmla="*/ 927 h 1248"/>
                  <a:gd name="T34" fmla="*/ 82 w 612"/>
                  <a:gd name="T35" fmla="*/ 980 h 1248"/>
                  <a:gd name="T36" fmla="*/ 120 w 612"/>
                  <a:gd name="T37" fmla="*/ 894 h 1248"/>
                  <a:gd name="T38" fmla="*/ 152 w 612"/>
                  <a:gd name="T39" fmla="*/ 804 h 1248"/>
                  <a:gd name="T40" fmla="*/ 178 w 612"/>
                  <a:gd name="T41" fmla="*/ 713 h 1248"/>
                  <a:gd name="T42" fmla="*/ 200 w 612"/>
                  <a:gd name="T43" fmla="*/ 620 h 1248"/>
                  <a:gd name="T44" fmla="*/ 215 w 612"/>
                  <a:gd name="T45" fmla="*/ 524 h 1248"/>
                  <a:gd name="T46" fmla="*/ 225 w 612"/>
                  <a:gd name="T47" fmla="*/ 426 h 1248"/>
                  <a:gd name="T48" fmla="*/ 227 w 612"/>
                  <a:gd name="T49" fmla="*/ 326 h 1248"/>
                  <a:gd name="T50" fmla="*/ 226 w 612"/>
                  <a:gd name="T51" fmla="*/ 247 h 1248"/>
                  <a:gd name="T52" fmla="*/ 220 w 612"/>
                  <a:gd name="T53" fmla="*/ 168 h 1248"/>
                  <a:gd name="T54" fmla="*/ 209 w 612"/>
                  <a:gd name="T55" fmla="*/ 91 h 1248"/>
                  <a:gd name="T56" fmla="*/ 420 w 612"/>
                  <a:gd name="T57" fmla="*/ 185 h 1248"/>
                  <a:gd name="T58" fmla="*/ 585 w 612"/>
                  <a:gd name="T59" fmla="*/ 0 h 1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12" h="1248">
                    <a:moveTo>
                      <a:pt x="585" y="0"/>
                    </a:moveTo>
                    <a:lnTo>
                      <a:pt x="601" y="108"/>
                    </a:lnTo>
                    <a:lnTo>
                      <a:pt x="610" y="216"/>
                    </a:lnTo>
                    <a:lnTo>
                      <a:pt x="612" y="326"/>
                    </a:lnTo>
                    <a:lnTo>
                      <a:pt x="610" y="438"/>
                    </a:lnTo>
                    <a:lnTo>
                      <a:pt x="601" y="547"/>
                    </a:lnTo>
                    <a:lnTo>
                      <a:pt x="585" y="654"/>
                    </a:lnTo>
                    <a:lnTo>
                      <a:pt x="563" y="761"/>
                    </a:lnTo>
                    <a:lnTo>
                      <a:pt x="537" y="864"/>
                    </a:lnTo>
                    <a:lnTo>
                      <a:pt x="504" y="965"/>
                    </a:lnTo>
                    <a:lnTo>
                      <a:pt x="467" y="1064"/>
                    </a:lnTo>
                    <a:lnTo>
                      <a:pt x="423" y="1160"/>
                    </a:lnTo>
                    <a:lnTo>
                      <a:pt x="492" y="1186"/>
                    </a:lnTo>
                    <a:lnTo>
                      <a:pt x="483" y="1202"/>
                    </a:lnTo>
                    <a:lnTo>
                      <a:pt x="149" y="1248"/>
                    </a:lnTo>
                    <a:lnTo>
                      <a:pt x="0" y="943"/>
                    </a:lnTo>
                    <a:lnTo>
                      <a:pt x="8" y="927"/>
                    </a:lnTo>
                    <a:lnTo>
                      <a:pt x="82" y="980"/>
                    </a:lnTo>
                    <a:lnTo>
                      <a:pt x="120" y="894"/>
                    </a:lnTo>
                    <a:lnTo>
                      <a:pt x="152" y="804"/>
                    </a:lnTo>
                    <a:lnTo>
                      <a:pt x="178" y="713"/>
                    </a:lnTo>
                    <a:lnTo>
                      <a:pt x="200" y="620"/>
                    </a:lnTo>
                    <a:lnTo>
                      <a:pt x="215" y="524"/>
                    </a:lnTo>
                    <a:lnTo>
                      <a:pt x="225" y="426"/>
                    </a:lnTo>
                    <a:lnTo>
                      <a:pt x="227" y="326"/>
                    </a:lnTo>
                    <a:lnTo>
                      <a:pt x="226" y="247"/>
                    </a:lnTo>
                    <a:lnTo>
                      <a:pt x="220" y="168"/>
                    </a:lnTo>
                    <a:lnTo>
                      <a:pt x="209" y="91"/>
                    </a:lnTo>
                    <a:lnTo>
                      <a:pt x="420" y="185"/>
                    </a:lnTo>
                    <a:lnTo>
                      <a:pt x="585"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67" name="Freeform 11"/>
              <p:cNvSpPr>
                <a:spLocks/>
              </p:cNvSpPr>
              <p:nvPr/>
            </p:nvSpPr>
            <p:spPr bwMode="auto">
              <a:xfrm flipH="1" flipV="1">
                <a:off x="6930879" y="2285814"/>
                <a:ext cx="135949" cy="122427"/>
              </a:xfrm>
              <a:custGeom>
                <a:avLst/>
                <a:gdLst>
                  <a:gd name="T0" fmla="*/ 127 w 1105"/>
                  <a:gd name="T1" fmla="*/ 0 h 996"/>
                  <a:gd name="T2" fmla="*/ 465 w 1105"/>
                  <a:gd name="T3" fmla="*/ 24 h 996"/>
                  <a:gd name="T4" fmla="*/ 475 w 1105"/>
                  <a:gd name="T5" fmla="*/ 40 h 996"/>
                  <a:gd name="T6" fmla="*/ 402 w 1105"/>
                  <a:gd name="T7" fmla="*/ 74 h 996"/>
                  <a:gd name="T8" fmla="*/ 462 w 1105"/>
                  <a:gd name="T9" fmla="*/ 154 h 996"/>
                  <a:gd name="T10" fmla="*/ 527 w 1105"/>
                  <a:gd name="T11" fmla="*/ 230 h 996"/>
                  <a:gd name="T12" fmla="*/ 598 w 1105"/>
                  <a:gd name="T13" fmla="*/ 302 h 996"/>
                  <a:gd name="T14" fmla="*/ 672 w 1105"/>
                  <a:gd name="T15" fmla="*/ 369 h 996"/>
                  <a:gd name="T16" fmla="*/ 751 w 1105"/>
                  <a:gd name="T17" fmla="*/ 433 h 996"/>
                  <a:gd name="T18" fmla="*/ 834 w 1105"/>
                  <a:gd name="T19" fmla="*/ 490 h 996"/>
                  <a:gd name="T20" fmla="*/ 921 w 1105"/>
                  <a:gd name="T21" fmla="*/ 542 h 996"/>
                  <a:gd name="T22" fmla="*/ 1011 w 1105"/>
                  <a:gd name="T23" fmla="*/ 587 h 996"/>
                  <a:gd name="T24" fmla="*/ 1105 w 1105"/>
                  <a:gd name="T25" fmla="*/ 628 h 996"/>
                  <a:gd name="T26" fmla="*/ 914 w 1105"/>
                  <a:gd name="T27" fmla="*/ 767 h 996"/>
                  <a:gd name="T28" fmla="*/ 988 w 1105"/>
                  <a:gd name="T29" fmla="*/ 996 h 996"/>
                  <a:gd name="T30" fmla="*/ 887 w 1105"/>
                  <a:gd name="T31" fmla="*/ 955 h 996"/>
                  <a:gd name="T32" fmla="*/ 789 w 1105"/>
                  <a:gd name="T33" fmla="*/ 908 h 996"/>
                  <a:gd name="T34" fmla="*/ 695 w 1105"/>
                  <a:gd name="T35" fmla="*/ 857 h 996"/>
                  <a:gd name="T36" fmla="*/ 604 w 1105"/>
                  <a:gd name="T37" fmla="*/ 799 h 996"/>
                  <a:gd name="T38" fmla="*/ 517 w 1105"/>
                  <a:gd name="T39" fmla="*/ 738 h 996"/>
                  <a:gd name="T40" fmla="*/ 433 w 1105"/>
                  <a:gd name="T41" fmla="*/ 671 h 996"/>
                  <a:gd name="T42" fmla="*/ 353 w 1105"/>
                  <a:gd name="T43" fmla="*/ 601 h 996"/>
                  <a:gd name="T44" fmla="*/ 276 w 1105"/>
                  <a:gd name="T45" fmla="*/ 526 h 996"/>
                  <a:gd name="T46" fmla="*/ 204 w 1105"/>
                  <a:gd name="T47" fmla="*/ 446 h 996"/>
                  <a:gd name="T48" fmla="*/ 137 w 1105"/>
                  <a:gd name="T49" fmla="*/ 363 h 996"/>
                  <a:gd name="T50" fmla="*/ 74 w 1105"/>
                  <a:gd name="T51" fmla="*/ 276 h 996"/>
                  <a:gd name="T52" fmla="*/ 9 w 1105"/>
                  <a:gd name="T53" fmla="*/ 330 h 996"/>
                  <a:gd name="T54" fmla="*/ 0 w 1105"/>
                  <a:gd name="T55" fmla="*/ 314 h 996"/>
                  <a:gd name="T56" fmla="*/ 127 w 1105"/>
                  <a:gd name="T57" fmla="*/ 0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5" h="996">
                    <a:moveTo>
                      <a:pt x="127" y="0"/>
                    </a:moveTo>
                    <a:lnTo>
                      <a:pt x="465" y="24"/>
                    </a:lnTo>
                    <a:lnTo>
                      <a:pt x="475" y="40"/>
                    </a:lnTo>
                    <a:lnTo>
                      <a:pt x="402" y="74"/>
                    </a:lnTo>
                    <a:lnTo>
                      <a:pt x="462" y="154"/>
                    </a:lnTo>
                    <a:lnTo>
                      <a:pt x="527" y="230"/>
                    </a:lnTo>
                    <a:lnTo>
                      <a:pt x="598" y="302"/>
                    </a:lnTo>
                    <a:lnTo>
                      <a:pt x="672" y="369"/>
                    </a:lnTo>
                    <a:lnTo>
                      <a:pt x="751" y="433"/>
                    </a:lnTo>
                    <a:lnTo>
                      <a:pt x="834" y="490"/>
                    </a:lnTo>
                    <a:lnTo>
                      <a:pt x="921" y="542"/>
                    </a:lnTo>
                    <a:lnTo>
                      <a:pt x="1011" y="587"/>
                    </a:lnTo>
                    <a:lnTo>
                      <a:pt x="1105" y="628"/>
                    </a:lnTo>
                    <a:lnTo>
                      <a:pt x="914" y="767"/>
                    </a:lnTo>
                    <a:lnTo>
                      <a:pt x="988" y="996"/>
                    </a:lnTo>
                    <a:lnTo>
                      <a:pt x="887" y="955"/>
                    </a:lnTo>
                    <a:lnTo>
                      <a:pt x="789" y="908"/>
                    </a:lnTo>
                    <a:lnTo>
                      <a:pt x="695" y="857"/>
                    </a:lnTo>
                    <a:lnTo>
                      <a:pt x="604" y="799"/>
                    </a:lnTo>
                    <a:lnTo>
                      <a:pt x="517" y="738"/>
                    </a:lnTo>
                    <a:lnTo>
                      <a:pt x="433" y="671"/>
                    </a:lnTo>
                    <a:lnTo>
                      <a:pt x="353" y="601"/>
                    </a:lnTo>
                    <a:lnTo>
                      <a:pt x="276" y="526"/>
                    </a:lnTo>
                    <a:lnTo>
                      <a:pt x="204" y="446"/>
                    </a:lnTo>
                    <a:lnTo>
                      <a:pt x="137" y="363"/>
                    </a:lnTo>
                    <a:lnTo>
                      <a:pt x="74" y="276"/>
                    </a:lnTo>
                    <a:lnTo>
                      <a:pt x="9" y="330"/>
                    </a:lnTo>
                    <a:lnTo>
                      <a:pt x="0" y="314"/>
                    </a:lnTo>
                    <a:lnTo>
                      <a:pt x="12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68" name="Freeform 12"/>
              <p:cNvSpPr>
                <a:spLocks/>
              </p:cNvSpPr>
              <p:nvPr/>
            </p:nvSpPr>
            <p:spPr bwMode="auto">
              <a:xfrm flipH="1" flipV="1">
                <a:off x="6783376" y="2270080"/>
                <a:ext cx="159549" cy="64901"/>
              </a:xfrm>
              <a:custGeom>
                <a:avLst/>
                <a:gdLst>
                  <a:gd name="T0" fmla="*/ 274 w 1298"/>
                  <a:gd name="T1" fmla="*/ 0 h 527"/>
                  <a:gd name="T2" fmla="*/ 291 w 1298"/>
                  <a:gd name="T3" fmla="*/ 6 h 527"/>
                  <a:gd name="T4" fmla="*/ 255 w 1298"/>
                  <a:gd name="T5" fmla="*/ 83 h 527"/>
                  <a:gd name="T6" fmla="*/ 352 w 1298"/>
                  <a:gd name="T7" fmla="*/ 105 h 527"/>
                  <a:gd name="T8" fmla="*/ 451 w 1298"/>
                  <a:gd name="T9" fmla="*/ 122 h 527"/>
                  <a:gd name="T10" fmla="*/ 553 w 1298"/>
                  <a:gd name="T11" fmla="*/ 133 h 527"/>
                  <a:gd name="T12" fmla="*/ 656 w 1298"/>
                  <a:gd name="T13" fmla="*/ 137 h 527"/>
                  <a:gd name="T14" fmla="*/ 758 w 1298"/>
                  <a:gd name="T15" fmla="*/ 133 h 527"/>
                  <a:gd name="T16" fmla="*/ 858 w 1298"/>
                  <a:gd name="T17" fmla="*/ 123 h 527"/>
                  <a:gd name="T18" fmla="*/ 957 w 1298"/>
                  <a:gd name="T19" fmla="*/ 107 h 527"/>
                  <a:gd name="T20" fmla="*/ 1053 w 1298"/>
                  <a:gd name="T21" fmla="*/ 84 h 527"/>
                  <a:gd name="T22" fmla="*/ 1148 w 1298"/>
                  <a:gd name="T23" fmla="*/ 56 h 527"/>
                  <a:gd name="T24" fmla="*/ 1091 w 1298"/>
                  <a:gd name="T25" fmla="*/ 281 h 527"/>
                  <a:gd name="T26" fmla="*/ 1298 w 1298"/>
                  <a:gd name="T27" fmla="*/ 411 h 527"/>
                  <a:gd name="T28" fmla="*/ 1197 w 1298"/>
                  <a:gd name="T29" fmla="*/ 444 h 527"/>
                  <a:gd name="T30" fmla="*/ 1093 w 1298"/>
                  <a:gd name="T31" fmla="*/ 472 h 527"/>
                  <a:gd name="T32" fmla="*/ 986 w 1298"/>
                  <a:gd name="T33" fmla="*/ 493 h 527"/>
                  <a:gd name="T34" fmla="*/ 877 w 1298"/>
                  <a:gd name="T35" fmla="*/ 509 h 527"/>
                  <a:gd name="T36" fmla="*/ 767 w 1298"/>
                  <a:gd name="T37" fmla="*/ 519 h 527"/>
                  <a:gd name="T38" fmla="*/ 656 w 1298"/>
                  <a:gd name="T39" fmla="*/ 521 h 527"/>
                  <a:gd name="T40" fmla="*/ 548 w 1298"/>
                  <a:gd name="T41" fmla="*/ 519 h 527"/>
                  <a:gd name="T42" fmla="*/ 443 w 1298"/>
                  <a:gd name="T43" fmla="*/ 510 h 527"/>
                  <a:gd name="T44" fmla="*/ 339 w 1298"/>
                  <a:gd name="T45" fmla="*/ 495 h 527"/>
                  <a:gd name="T46" fmla="*/ 236 w 1298"/>
                  <a:gd name="T47" fmla="*/ 475 h 527"/>
                  <a:gd name="T48" fmla="*/ 137 w 1298"/>
                  <a:gd name="T49" fmla="*/ 450 h 527"/>
                  <a:gd name="T50" fmla="*/ 121 w 1298"/>
                  <a:gd name="T51" fmla="*/ 527 h 527"/>
                  <a:gd name="T52" fmla="*/ 104 w 1298"/>
                  <a:gd name="T53" fmla="*/ 522 h 527"/>
                  <a:gd name="T54" fmla="*/ 0 w 1298"/>
                  <a:gd name="T55" fmla="*/ 200 h 527"/>
                  <a:gd name="T56" fmla="*/ 274 w 1298"/>
                  <a:gd name="T57" fmla="*/ 0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98" h="527">
                    <a:moveTo>
                      <a:pt x="274" y="0"/>
                    </a:moveTo>
                    <a:lnTo>
                      <a:pt x="291" y="6"/>
                    </a:lnTo>
                    <a:lnTo>
                      <a:pt x="255" y="83"/>
                    </a:lnTo>
                    <a:lnTo>
                      <a:pt x="352" y="105"/>
                    </a:lnTo>
                    <a:lnTo>
                      <a:pt x="451" y="122"/>
                    </a:lnTo>
                    <a:lnTo>
                      <a:pt x="553" y="133"/>
                    </a:lnTo>
                    <a:lnTo>
                      <a:pt x="656" y="137"/>
                    </a:lnTo>
                    <a:lnTo>
                      <a:pt x="758" y="133"/>
                    </a:lnTo>
                    <a:lnTo>
                      <a:pt x="858" y="123"/>
                    </a:lnTo>
                    <a:lnTo>
                      <a:pt x="957" y="107"/>
                    </a:lnTo>
                    <a:lnTo>
                      <a:pt x="1053" y="84"/>
                    </a:lnTo>
                    <a:lnTo>
                      <a:pt x="1148" y="56"/>
                    </a:lnTo>
                    <a:lnTo>
                      <a:pt x="1091" y="281"/>
                    </a:lnTo>
                    <a:lnTo>
                      <a:pt x="1298" y="411"/>
                    </a:lnTo>
                    <a:lnTo>
                      <a:pt x="1197" y="444"/>
                    </a:lnTo>
                    <a:lnTo>
                      <a:pt x="1093" y="472"/>
                    </a:lnTo>
                    <a:lnTo>
                      <a:pt x="986" y="493"/>
                    </a:lnTo>
                    <a:lnTo>
                      <a:pt x="877" y="509"/>
                    </a:lnTo>
                    <a:lnTo>
                      <a:pt x="767" y="519"/>
                    </a:lnTo>
                    <a:lnTo>
                      <a:pt x="656" y="521"/>
                    </a:lnTo>
                    <a:lnTo>
                      <a:pt x="548" y="519"/>
                    </a:lnTo>
                    <a:lnTo>
                      <a:pt x="443" y="510"/>
                    </a:lnTo>
                    <a:lnTo>
                      <a:pt x="339" y="495"/>
                    </a:lnTo>
                    <a:lnTo>
                      <a:pt x="236" y="475"/>
                    </a:lnTo>
                    <a:lnTo>
                      <a:pt x="137" y="450"/>
                    </a:lnTo>
                    <a:lnTo>
                      <a:pt x="121" y="527"/>
                    </a:lnTo>
                    <a:lnTo>
                      <a:pt x="104" y="522"/>
                    </a:lnTo>
                    <a:lnTo>
                      <a:pt x="0" y="200"/>
                    </a:lnTo>
                    <a:lnTo>
                      <a:pt x="274"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69" name="Freeform 13"/>
              <p:cNvSpPr>
                <a:spLocks/>
              </p:cNvSpPr>
              <p:nvPr/>
            </p:nvSpPr>
            <p:spPr bwMode="auto">
              <a:xfrm flipH="1" flipV="1">
                <a:off x="6624319" y="2537060"/>
                <a:ext cx="113823" cy="150945"/>
              </a:xfrm>
              <a:custGeom>
                <a:avLst/>
                <a:gdLst>
                  <a:gd name="T0" fmla="*/ 232 w 927"/>
                  <a:gd name="T1" fmla="*/ 0 h 1229"/>
                  <a:gd name="T2" fmla="*/ 311 w 927"/>
                  <a:gd name="T3" fmla="*/ 72 h 1229"/>
                  <a:gd name="T4" fmla="*/ 386 w 927"/>
                  <a:gd name="T5" fmla="*/ 148 h 1229"/>
                  <a:gd name="T6" fmla="*/ 458 w 927"/>
                  <a:gd name="T7" fmla="*/ 227 h 1229"/>
                  <a:gd name="T8" fmla="*/ 524 w 927"/>
                  <a:gd name="T9" fmla="*/ 309 h 1229"/>
                  <a:gd name="T10" fmla="*/ 586 w 927"/>
                  <a:gd name="T11" fmla="*/ 397 h 1229"/>
                  <a:gd name="T12" fmla="*/ 643 w 927"/>
                  <a:gd name="T13" fmla="*/ 488 h 1229"/>
                  <a:gd name="T14" fmla="*/ 695 w 927"/>
                  <a:gd name="T15" fmla="*/ 581 h 1229"/>
                  <a:gd name="T16" fmla="*/ 743 w 927"/>
                  <a:gd name="T17" fmla="*/ 678 h 1229"/>
                  <a:gd name="T18" fmla="*/ 784 w 927"/>
                  <a:gd name="T19" fmla="*/ 778 h 1229"/>
                  <a:gd name="T20" fmla="*/ 820 w 927"/>
                  <a:gd name="T21" fmla="*/ 881 h 1229"/>
                  <a:gd name="T22" fmla="*/ 850 w 927"/>
                  <a:gd name="T23" fmla="*/ 985 h 1229"/>
                  <a:gd name="T24" fmla="*/ 923 w 927"/>
                  <a:gd name="T25" fmla="*/ 961 h 1229"/>
                  <a:gd name="T26" fmla="*/ 927 w 927"/>
                  <a:gd name="T27" fmla="*/ 978 h 1229"/>
                  <a:gd name="T28" fmla="*/ 700 w 927"/>
                  <a:gd name="T29" fmla="*/ 1229 h 1229"/>
                  <a:gd name="T30" fmla="*/ 391 w 927"/>
                  <a:gd name="T31" fmla="*/ 1092 h 1229"/>
                  <a:gd name="T32" fmla="*/ 387 w 927"/>
                  <a:gd name="T33" fmla="*/ 1074 h 1229"/>
                  <a:gd name="T34" fmla="*/ 473 w 927"/>
                  <a:gd name="T35" fmla="*/ 1066 h 1229"/>
                  <a:gd name="T36" fmla="*/ 444 w 927"/>
                  <a:gd name="T37" fmla="*/ 968 h 1229"/>
                  <a:gd name="T38" fmla="*/ 408 w 927"/>
                  <a:gd name="T39" fmla="*/ 874 h 1229"/>
                  <a:gd name="T40" fmla="*/ 366 w 927"/>
                  <a:gd name="T41" fmla="*/ 781 h 1229"/>
                  <a:gd name="T42" fmla="*/ 318 w 927"/>
                  <a:gd name="T43" fmla="*/ 693 h 1229"/>
                  <a:gd name="T44" fmla="*/ 264 w 927"/>
                  <a:gd name="T45" fmla="*/ 608 h 1229"/>
                  <a:gd name="T46" fmla="*/ 205 w 927"/>
                  <a:gd name="T47" fmla="*/ 527 h 1229"/>
                  <a:gd name="T48" fmla="*/ 141 w 927"/>
                  <a:gd name="T49" fmla="*/ 450 h 1229"/>
                  <a:gd name="T50" fmla="*/ 73 w 927"/>
                  <a:gd name="T51" fmla="*/ 378 h 1229"/>
                  <a:gd name="T52" fmla="*/ 0 w 927"/>
                  <a:gd name="T53" fmla="*/ 309 h 1229"/>
                  <a:gd name="T54" fmla="*/ 223 w 927"/>
                  <a:gd name="T55" fmla="*/ 245 h 1229"/>
                  <a:gd name="T56" fmla="*/ 232 w 927"/>
                  <a:gd name="T57" fmla="*/ 0 h 1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27" h="1229">
                    <a:moveTo>
                      <a:pt x="232" y="0"/>
                    </a:moveTo>
                    <a:lnTo>
                      <a:pt x="311" y="72"/>
                    </a:lnTo>
                    <a:lnTo>
                      <a:pt x="386" y="148"/>
                    </a:lnTo>
                    <a:lnTo>
                      <a:pt x="458" y="227"/>
                    </a:lnTo>
                    <a:lnTo>
                      <a:pt x="524" y="309"/>
                    </a:lnTo>
                    <a:lnTo>
                      <a:pt x="586" y="397"/>
                    </a:lnTo>
                    <a:lnTo>
                      <a:pt x="643" y="488"/>
                    </a:lnTo>
                    <a:lnTo>
                      <a:pt x="695" y="581"/>
                    </a:lnTo>
                    <a:lnTo>
                      <a:pt x="743" y="678"/>
                    </a:lnTo>
                    <a:lnTo>
                      <a:pt x="784" y="778"/>
                    </a:lnTo>
                    <a:lnTo>
                      <a:pt x="820" y="881"/>
                    </a:lnTo>
                    <a:lnTo>
                      <a:pt x="850" y="985"/>
                    </a:lnTo>
                    <a:lnTo>
                      <a:pt x="923" y="961"/>
                    </a:lnTo>
                    <a:lnTo>
                      <a:pt x="927" y="978"/>
                    </a:lnTo>
                    <a:lnTo>
                      <a:pt x="700" y="1229"/>
                    </a:lnTo>
                    <a:lnTo>
                      <a:pt x="391" y="1092"/>
                    </a:lnTo>
                    <a:lnTo>
                      <a:pt x="387" y="1074"/>
                    </a:lnTo>
                    <a:lnTo>
                      <a:pt x="473" y="1066"/>
                    </a:lnTo>
                    <a:lnTo>
                      <a:pt x="444" y="968"/>
                    </a:lnTo>
                    <a:lnTo>
                      <a:pt x="408" y="874"/>
                    </a:lnTo>
                    <a:lnTo>
                      <a:pt x="366" y="781"/>
                    </a:lnTo>
                    <a:lnTo>
                      <a:pt x="318" y="693"/>
                    </a:lnTo>
                    <a:lnTo>
                      <a:pt x="264" y="608"/>
                    </a:lnTo>
                    <a:lnTo>
                      <a:pt x="205" y="527"/>
                    </a:lnTo>
                    <a:lnTo>
                      <a:pt x="141" y="450"/>
                    </a:lnTo>
                    <a:lnTo>
                      <a:pt x="73" y="378"/>
                    </a:lnTo>
                    <a:lnTo>
                      <a:pt x="0" y="309"/>
                    </a:lnTo>
                    <a:lnTo>
                      <a:pt x="223" y="245"/>
                    </a:lnTo>
                    <a:lnTo>
                      <a:pt x="232"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70" name="Freeform 14"/>
              <p:cNvSpPr>
                <a:spLocks/>
              </p:cNvSpPr>
              <p:nvPr/>
            </p:nvSpPr>
            <p:spPr bwMode="auto">
              <a:xfrm flipH="1" flipV="1">
                <a:off x="6718229" y="2653587"/>
                <a:ext cx="142832" cy="90468"/>
              </a:xfrm>
              <a:custGeom>
                <a:avLst/>
                <a:gdLst>
                  <a:gd name="T0" fmla="*/ 0 w 1162"/>
                  <a:gd name="T1" fmla="*/ 0 h 736"/>
                  <a:gd name="T2" fmla="*/ 113 w 1162"/>
                  <a:gd name="T3" fmla="*/ 4 h 736"/>
                  <a:gd name="T4" fmla="*/ 223 w 1162"/>
                  <a:gd name="T5" fmla="*/ 15 h 736"/>
                  <a:gd name="T6" fmla="*/ 331 w 1162"/>
                  <a:gd name="T7" fmla="*/ 30 h 736"/>
                  <a:gd name="T8" fmla="*/ 437 w 1162"/>
                  <a:gd name="T9" fmla="*/ 53 h 736"/>
                  <a:gd name="T10" fmla="*/ 541 w 1162"/>
                  <a:gd name="T11" fmla="*/ 81 h 736"/>
                  <a:gd name="T12" fmla="*/ 643 w 1162"/>
                  <a:gd name="T13" fmla="*/ 114 h 736"/>
                  <a:gd name="T14" fmla="*/ 741 w 1162"/>
                  <a:gd name="T15" fmla="*/ 152 h 736"/>
                  <a:gd name="T16" fmla="*/ 838 w 1162"/>
                  <a:gd name="T17" fmla="*/ 197 h 736"/>
                  <a:gd name="T18" fmla="*/ 931 w 1162"/>
                  <a:gd name="T19" fmla="*/ 246 h 736"/>
                  <a:gd name="T20" fmla="*/ 1021 w 1162"/>
                  <a:gd name="T21" fmla="*/ 300 h 736"/>
                  <a:gd name="T22" fmla="*/ 1108 w 1162"/>
                  <a:gd name="T23" fmla="*/ 360 h 736"/>
                  <a:gd name="T24" fmla="*/ 1148 w 1162"/>
                  <a:gd name="T25" fmla="*/ 293 h 736"/>
                  <a:gd name="T26" fmla="*/ 1162 w 1162"/>
                  <a:gd name="T27" fmla="*/ 303 h 736"/>
                  <a:gd name="T28" fmla="*/ 1150 w 1162"/>
                  <a:gd name="T29" fmla="*/ 642 h 736"/>
                  <a:gd name="T30" fmla="*/ 824 w 1162"/>
                  <a:gd name="T31" fmla="*/ 736 h 736"/>
                  <a:gd name="T32" fmla="*/ 810 w 1162"/>
                  <a:gd name="T33" fmla="*/ 725 h 736"/>
                  <a:gd name="T34" fmla="*/ 871 w 1162"/>
                  <a:gd name="T35" fmla="*/ 664 h 736"/>
                  <a:gd name="T36" fmla="*/ 789 w 1162"/>
                  <a:gd name="T37" fmla="*/ 609 h 736"/>
                  <a:gd name="T38" fmla="*/ 703 w 1162"/>
                  <a:gd name="T39" fmla="*/ 561 h 736"/>
                  <a:gd name="T40" fmla="*/ 612 w 1162"/>
                  <a:gd name="T41" fmla="*/ 517 h 736"/>
                  <a:gd name="T42" fmla="*/ 520 w 1162"/>
                  <a:gd name="T43" fmla="*/ 479 h 736"/>
                  <a:gd name="T44" fmla="*/ 424 w 1162"/>
                  <a:gd name="T45" fmla="*/ 448 h 736"/>
                  <a:gd name="T46" fmla="*/ 325 w 1162"/>
                  <a:gd name="T47" fmla="*/ 422 h 736"/>
                  <a:gd name="T48" fmla="*/ 224 w 1162"/>
                  <a:gd name="T49" fmla="*/ 404 h 736"/>
                  <a:gd name="T50" fmla="*/ 121 w 1162"/>
                  <a:gd name="T51" fmla="*/ 392 h 736"/>
                  <a:gd name="T52" fmla="*/ 16 w 1162"/>
                  <a:gd name="T53" fmla="*/ 386 h 736"/>
                  <a:gd name="T54" fmla="*/ 148 w 1162"/>
                  <a:gd name="T55" fmla="*/ 190 h 736"/>
                  <a:gd name="T56" fmla="*/ 0 w 1162"/>
                  <a:gd name="T57" fmla="*/ 0 h 7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62" h="736">
                    <a:moveTo>
                      <a:pt x="0" y="0"/>
                    </a:moveTo>
                    <a:lnTo>
                      <a:pt x="113" y="4"/>
                    </a:lnTo>
                    <a:lnTo>
                      <a:pt x="223" y="15"/>
                    </a:lnTo>
                    <a:lnTo>
                      <a:pt x="331" y="30"/>
                    </a:lnTo>
                    <a:lnTo>
                      <a:pt x="437" y="53"/>
                    </a:lnTo>
                    <a:lnTo>
                      <a:pt x="541" y="81"/>
                    </a:lnTo>
                    <a:lnTo>
                      <a:pt x="643" y="114"/>
                    </a:lnTo>
                    <a:lnTo>
                      <a:pt x="741" y="152"/>
                    </a:lnTo>
                    <a:lnTo>
                      <a:pt x="838" y="197"/>
                    </a:lnTo>
                    <a:lnTo>
                      <a:pt x="931" y="246"/>
                    </a:lnTo>
                    <a:lnTo>
                      <a:pt x="1021" y="300"/>
                    </a:lnTo>
                    <a:lnTo>
                      <a:pt x="1108" y="360"/>
                    </a:lnTo>
                    <a:lnTo>
                      <a:pt x="1148" y="293"/>
                    </a:lnTo>
                    <a:lnTo>
                      <a:pt x="1162" y="303"/>
                    </a:lnTo>
                    <a:lnTo>
                      <a:pt x="1150" y="642"/>
                    </a:lnTo>
                    <a:lnTo>
                      <a:pt x="824" y="736"/>
                    </a:lnTo>
                    <a:lnTo>
                      <a:pt x="810" y="725"/>
                    </a:lnTo>
                    <a:lnTo>
                      <a:pt x="871" y="664"/>
                    </a:lnTo>
                    <a:lnTo>
                      <a:pt x="789" y="609"/>
                    </a:lnTo>
                    <a:lnTo>
                      <a:pt x="703" y="561"/>
                    </a:lnTo>
                    <a:lnTo>
                      <a:pt x="612" y="517"/>
                    </a:lnTo>
                    <a:lnTo>
                      <a:pt x="520" y="479"/>
                    </a:lnTo>
                    <a:lnTo>
                      <a:pt x="424" y="448"/>
                    </a:lnTo>
                    <a:lnTo>
                      <a:pt x="325" y="422"/>
                    </a:lnTo>
                    <a:lnTo>
                      <a:pt x="224" y="404"/>
                    </a:lnTo>
                    <a:lnTo>
                      <a:pt x="121" y="392"/>
                    </a:lnTo>
                    <a:lnTo>
                      <a:pt x="16" y="386"/>
                    </a:lnTo>
                    <a:lnTo>
                      <a:pt x="148" y="19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sp>
          <p:nvSpPr>
            <p:cNvPr id="171" name="Freeform 78"/>
            <p:cNvSpPr>
              <a:spLocks noEditPoints="1"/>
            </p:cNvSpPr>
            <p:nvPr/>
          </p:nvSpPr>
          <p:spPr bwMode="auto">
            <a:xfrm>
              <a:off x="11415209" y="4989023"/>
              <a:ext cx="245924" cy="338507"/>
            </a:xfrm>
            <a:custGeom>
              <a:avLst/>
              <a:gdLst>
                <a:gd name="T0" fmla="*/ 36 w 72"/>
                <a:gd name="T1" fmla="*/ 31 h 99"/>
                <a:gd name="T2" fmla="*/ 15 w 72"/>
                <a:gd name="T3" fmla="*/ 53 h 99"/>
                <a:gd name="T4" fmla="*/ 25 w 72"/>
                <a:gd name="T5" fmla="*/ 74 h 99"/>
                <a:gd name="T6" fmla="*/ 24 w 72"/>
                <a:gd name="T7" fmla="*/ 74 h 99"/>
                <a:gd name="T8" fmla="*/ 12 w 72"/>
                <a:gd name="T9" fmla="*/ 53 h 99"/>
                <a:gd name="T10" fmla="*/ 36 w 72"/>
                <a:gd name="T11" fmla="*/ 29 h 99"/>
                <a:gd name="T12" fmla="*/ 60 w 72"/>
                <a:gd name="T13" fmla="*/ 53 h 99"/>
                <a:gd name="T14" fmla="*/ 48 w 72"/>
                <a:gd name="T15" fmla="*/ 74 h 99"/>
                <a:gd name="T16" fmla="*/ 48 w 72"/>
                <a:gd name="T17" fmla="*/ 74 h 99"/>
                <a:gd name="T18" fmla="*/ 25 w 72"/>
                <a:gd name="T19" fmla="*/ 74 h 99"/>
                <a:gd name="T20" fmla="*/ 36 w 72"/>
                <a:gd name="T21" fmla="*/ 99 h 99"/>
                <a:gd name="T22" fmla="*/ 30 w 72"/>
                <a:gd name="T23" fmla="*/ 96 h 99"/>
                <a:gd name="T24" fmla="*/ 42 w 72"/>
                <a:gd name="T25" fmla="*/ 96 h 99"/>
                <a:gd name="T26" fmla="*/ 36 w 72"/>
                <a:gd name="T27" fmla="*/ 99 h 99"/>
                <a:gd name="T28" fmla="*/ 48 w 72"/>
                <a:gd name="T29" fmla="*/ 90 h 99"/>
                <a:gd name="T30" fmla="*/ 45 w 72"/>
                <a:gd name="T31" fmla="*/ 93 h 99"/>
                <a:gd name="T32" fmla="*/ 28 w 72"/>
                <a:gd name="T33" fmla="*/ 93 h 99"/>
                <a:gd name="T34" fmla="*/ 25 w 72"/>
                <a:gd name="T35" fmla="*/ 90 h 99"/>
                <a:gd name="T36" fmla="*/ 28 w 72"/>
                <a:gd name="T37" fmla="*/ 87 h 99"/>
                <a:gd name="T38" fmla="*/ 45 w 72"/>
                <a:gd name="T39" fmla="*/ 87 h 99"/>
                <a:gd name="T40" fmla="*/ 48 w 72"/>
                <a:gd name="T41" fmla="*/ 90 h 99"/>
                <a:gd name="T42" fmla="*/ 48 w 72"/>
                <a:gd name="T43" fmla="*/ 81 h 99"/>
                <a:gd name="T44" fmla="*/ 45 w 72"/>
                <a:gd name="T45" fmla="*/ 84 h 99"/>
                <a:gd name="T46" fmla="*/ 28 w 72"/>
                <a:gd name="T47" fmla="*/ 84 h 99"/>
                <a:gd name="T48" fmla="*/ 25 w 72"/>
                <a:gd name="T49" fmla="*/ 81 h 99"/>
                <a:gd name="T50" fmla="*/ 28 w 72"/>
                <a:gd name="T51" fmla="*/ 78 h 99"/>
                <a:gd name="T52" fmla="*/ 45 w 72"/>
                <a:gd name="T53" fmla="*/ 78 h 99"/>
                <a:gd name="T54" fmla="*/ 48 w 72"/>
                <a:gd name="T55" fmla="*/ 81 h 99"/>
                <a:gd name="T56" fmla="*/ 71 w 72"/>
                <a:gd name="T57" fmla="*/ 14 h 99"/>
                <a:gd name="T58" fmla="*/ 71 w 72"/>
                <a:gd name="T59" fmla="*/ 18 h 99"/>
                <a:gd name="T60" fmla="*/ 60 w 72"/>
                <a:gd name="T61" fmla="*/ 30 h 99"/>
                <a:gd name="T62" fmla="*/ 55 w 72"/>
                <a:gd name="T63" fmla="*/ 30 h 99"/>
                <a:gd name="T64" fmla="*/ 55 w 72"/>
                <a:gd name="T65" fmla="*/ 25 h 99"/>
                <a:gd name="T66" fmla="*/ 66 w 72"/>
                <a:gd name="T67" fmla="*/ 13 h 99"/>
                <a:gd name="T68" fmla="*/ 71 w 72"/>
                <a:gd name="T69" fmla="*/ 14 h 99"/>
                <a:gd name="T70" fmla="*/ 36 w 72"/>
                <a:gd name="T71" fmla="*/ 0 h 99"/>
                <a:gd name="T72" fmla="*/ 40 w 72"/>
                <a:gd name="T73" fmla="*/ 3 h 99"/>
                <a:gd name="T74" fmla="*/ 40 w 72"/>
                <a:gd name="T75" fmla="*/ 20 h 99"/>
                <a:gd name="T76" fmla="*/ 36 w 72"/>
                <a:gd name="T77" fmla="*/ 23 h 99"/>
                <a:gd name="T78" fmla="*/ 33 w 72"/>
                <a:gd name="T79" fmla="*/ 20 h 99"/>
                <a:gd name="T80" fmla="*/ 33 w 72"/>
                <a:gd name="T81" fmla="*/ 3 h 99"/>
                <a:gd name="T82" fmla="*/ 36 w 72"/>
                <a:gd name="T83" fmla="*/ 0 h 99"/>
                <a:gd name="T84" fmla="*/ 1 w 72"/>
                <a:gd name="T85" fmla="*/ 14 h 99"/>
                <a:gd name="T86" fmla="*/ 6 w 72"/>
                <a:gd name="T87" fmla="*/ 13 h 99"/>
                <a:gd name="T88" fmla="*/ 18 w 72"/>
                <a:gd name="T89" fmla="*/ 25 h 99"/>
                <a:gd name="T90" fmla="*/ 17 w 72"/>
                <a:gd name="T91" fmla="*/ 30 h 99"/>
                <a:gd name="T92" fmla="*/ 13 w 72"/>
                <a:gd name="T93" fmla="*/ 30 h 99"/>
                <a:gd name="T94" fmla="*/ 1 w 72"/>
                <a:gd name="T95" fmla="*/ 18 h 99"/>
                <a:gd name="T96" fmla="*/ 1 w 72"/>
                <a:gd name="T97" fmla="*/ 1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 h="99">
                  <a:moveTo>
                    <a:pt x="36" y="31"/>
                  </a:moveTo>
                  <a:cubicBezTo>
                    <a:pt x="24" y="31"/>
                    <a:pt x="15" y="41"/>
                    <a:pt x="15" y="53"/>
                  </a:cubicBezTo>
                  <a:moveTo>
                    <a:pt x="25" y="74"/>
                  </a:moveTo>
                  <a:cubicBezTo>
                    <a:pt x="24" y="74"/>
                    <a:pt x="24" y="74"/>
                    <a:pt x="24" y="74"/>
                  </a:cubicBezTo>
                  <a:cubicBezTo>
                    <a:pt x="17" y="70"/>
                    <a:pt x="12" y="62"/>
                    <a:pt x="12" y="53"/>
                  </a:cubicBezTo>
                  <a:cubicBezTo>
                    <a:pt x="12" y="40"/>
                    <a:pt x="23" y="29"/>
                    <a:pt x="36" y="29"/>
                  </a:cubicBezTo>
                  <a:cubicBezTo>
                    <a:pt x="50" y="29"/>
                    <a:pt x="60" y="40"/>
                    <a:pt x="60" y="53"/>
                  </a:cubicBezTo>
                  <a:cubicBezTo>
                    <a:pt x="60" y="62"/>
                    <a:pt x="56" y="70"/>
                    <a:pt x="48" y="74"/>
                  </a:cubicBezTo>
                  <a:cubicBezTo>
                    <a:pt x="48" y="74"/>
                    <a:pt x="48" y="74"/>
                    <a:pt x="48" y="74"/>
                  </a:cubicBezTo>
                  <a:lnTo>
                    <a:pt x="25" y="74"/>
                  </a:lnTo>
                  <a:close/>
                  <a:moveTo>
                    <a:pt x="36" y="99"/>
                  </a:moveTo>
                  <a:cubicBezTo>
                    <a:pt x="34" y="99"/>
                    <a:pt x="32" y="98"/>
                    <a:pt x="30" y="96"/>
                  </a:cubicBezTo>
                  <a:cubicBezTo>
                    <a:pt x="42" y="96"/>
                    <a:pt x="42" y="96"/>
                    <a:pt x="42" y="96"/>
                  </a:cubicBezTo>
                  <a:cubicBezTo>
                    <a:pt x="41" y="98"/>
                    <a:pt x="39" y="99"/>
                    <a:pt x="36" y="99"/>
                  </a:cubicBezTo>
                  <a:moveTo>
                    <a:pt x="48" y="90"/>
                  </a:moveTo>
                  <a:cubicBezTo>
                    <a:pt x="48" y="92"/>
                    <a:pt x="46" y="93"/>
                    <a:pt x="45" y="93"/>
                  </a:cubicBezTo>
                  <a:cubicBezTo>
                    <a:pt x="28" y="93"/>
                    <a:pt x="28" y="93"/>
                    <a:pt x="28" y="93"/>
                  </a:cubicBezTo>
                  <a:cubicBezTo>
                    <a:pt x="26" y="93"/>
                    <a:pt x="25" y="92"/>
                    <a:pt x="25" y="90"/>
                  </a:cubicBezTo>
                  <a:cubicBezTo>
                    <a:pt x="25" y="88"/>
                    <a:pt x="26" y="87"/>
                    <a:pt x="28" y="87"/>
                  </a:cubicBezTo>
                  <a:cubicBezTo>
                    <a:pt x="45" y="87"/>
                    <a:pt x="45" y="87"/>
                    <a:pt x="45" y="87"/>
                  </a:cubicBezTo>
                  <a:cubicBezTo>
                    <a:pt x="46" y="87"/>
                    <a:pt x="48" y="88"/>
                    <a:pt x="48" y="90"/>
                  </a:cubicBezTo>
                  <a:moveTo>
                    <a:pt x="48" y="81"/>
                  </a:moveTo>
                  <a:cubicBezTo>
                    <a:pt x="48" y="83"/>
                    <a:pt x="46" y="84"/>
                    <a:pt x="45" y="84"/>
                  </a:cubicBezTo>
                  <a:cubicBezTo>
                    <a:pt x="28" y="84"/>
                    <a:pt x="28" y="84"/>
                    <a:pt x="28" y="84"/>
                  </a:cubicBezTo>
                  <a:cubicBezTo>
                    <a:pt x="26" y="84"/>
                    <a:pt x="25" y="83"/>
                    <a:pt x="25" y="81"/>
                  </a:cubicBezTo>
                  <a:cubicBezTo>
                    <a:pt x="25" y="79"/>
                    <a:pt x="26" y="78"/>
                    <a:pt x="28" y="78"/>
                  </a:cubicBezTo>
                  <a:cubicBezTo>
                    <a:pt x="45" y="78"/>
                    <a:pt x="45" y="78"/>
                    <a:pt x="45" y="78"/>
                  </a:cubicBezTo>
                  <a:cubicBezTo>
                    <a:pt x="46" y="78"/>
                    <a:pt x="48" y="79"/>
                    <a:pt x="48" y="81"/>
                  </a:cubicBezTo>
                  <a:moveTo>
                    <a:pt x="71" y="14"/>
                  </a:moveTo>
                  <a:cubicBezTo>
                    <a:pt x="72" y="15"/>
                    <a:pt x="72" y="17"/>
                    <a:pt x="71" y="18"/>
                  </a:cubicBezTo>
                  <a:cubicBezTo>
                    <a:pt x="60" y="30"/>
                    <a:pt x="60" y="30"/>
                    <a:pt x="60" y="30"/>
                  </a:cubicBezTo>
                  <a:cubicBezTo>
                    <a:pt x="58" y="31"/>
                    <a:pt x="56" y="31"/>
                    <a:pt x="55" y="30"/>
                  </a:cubicBezTo>
                  <a:cubicBezTo>
                    <a:pt x="54" y="28"/>
                    <a:pt x="54" y="26"/>
                    <a:pt x="55" y="25"/>
                  </a:cubicBezTo>
                  <a:cubicBezTo>
                    <a:pt x="66" y="13"/>
                    <a:pt x="66" y="13"/>
                    <a:pt x="66" y="13"/>
                  </a:cubicBezTo>
                  <a:cubicBezTo>
                    <a:pt x="68" y="12"/>
                    <a:pt x="70" y="12"/>
                    <a:pt x="71" y="14"/>
                  </a:cubicBezTo>
                  <a:moveTo>
                    <a:pt x="36" y="0"/>
                  </a:moveTo>
                  <a:cubicBezTo>
                    <a:pt x="38" y="0"/>
                    <a:pt x="40" y="2"/>
                    <a:pt x="40" y="3"/>
                  </a:cubicBezTo>
                  <a:cubicBezTo>
                    <a:pt x="40" y="20"/>
                    <a:pt x="40" y="20"/>
                    <a:pt x="40" y="20"/>
                  </a:cubicBezTo>
                  <a:cubicBezTo>
                    <a:pt x="40" y="21"/>
                    <a:pt x="38" y="23"/>
                    <a:pt x="36" y="23"/>
                  </a:cubicBezTo>
                  <a:cubicBezTo>
                    <a:pt x="35" y="23"/>
                    <a:pt x="33" y="22"/>
                    <a:pt x="33" y="20"/>
                  </a:cubicBezTo>
                  <a:cubicBezTo>
                    <a:pt x="33" y="3"/>
                    <a:pt x="33" y="3"/>
                    <a:pt x="33" y="3"/>
                  </a:cubicBezTo>
                  <a:cubicBezTo>
                    <a:pt x="33" y="2"/>
                    <a:pt x="34" y="0"/>
                    <a:pt x="36" y="0"/>
                  </a:cubicBezTo>
                  <a:moveTo>
                    <a:pt x="1" y="14"/>
                  </a:moveTo>
                  <a:cubicBezTo>
                    <a:pt x="3" y="12"/>
                    <a:pt x="5" y="12"/>
                    <a:pt x="6" y="13"/>
                  </a:cubicBezTo>
                  <a:cubicBezTo>
                    <a:pt x="18" y="25"/>
                    <a:pt x="18" y="25"/>
                    <a:pt x="18" y="25"/>
                  </a:cubicBezTo>
                  <a:cubicBezTo>
                    <a:pt x="19" y="26"/>
                    <a:pt x="19" y="28"/>
                    <a:pt x="17" y="30"/>
                  </a:cubicBezTo>
                  <a:cubicBezTo>
                    <a:pt x="16" y="31"/>
                    <a:pt x="14" y="31"/>
                    <a:pt x="13" y="30"/>
                  </a:cubicBezTo>
                  <a:cubicBezTo>
                    <a:pt x="1" y="18"/>
                    <a:pt x="1" y="18"/>
                    <a:pt x="1" y="18"/>
                  </a:cubicBezTo>
                  <a:cubicBezTo>
                    <a:pt x="0" y="17"/>
                    <a:pt x="0" y="15"/>
                    <a:pt x="1" y="14"/>
                  </a:cubicBezTo>
                </a:path>
              </a:pathLst>
            </a:custGeom>
            <a:solidFill>
              <a:srgbClr val="BAD532"/>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39830812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8">
                                            <p:txEl>
                                              <p:pRg st="0" end="0"/>
                                            </p:txEl>
                                          </p:spTgt>
                                        </p:tgtEl>
                                        <p:attrNameLst>
                                          <p:attrName>style.visibility</p:attrName>
                                        </p:attrNameLst>
                                      </p:cBhvr>
                                      <p:to>
                                        <p:strVal val="visible"/>
                                      </p:to>
                                    </p:set>
                                    <p:animEffect transition="in" filter="fade">
                                      <p:cBhvr>
                                        <p:cTn id="7" dur="500"/>
                                        <p:tgtEl>
                                          <p:spTgt spid="88">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par>
                                <p:cTn id="11" presetID="10" presetClass="entr" presetSubtype="0" fill="hold" nodeType="withEffect">
                                  <p:stCondLst>
                                    <p:cond delay="0"/>
                                  </p:stCondLst>
                                  <p:childTnLst>
                                    <p:set>
                                      <p:cBhvr>
                                        <p:cTn id="12" dur="1" fill="hold">
                                          <p:stCondLst>
                                            <p:cond delay="0"/>
                                          </p:stCondLst>
                                        </p:cTn>
                                        <p:tgtEl>
                                          <p:spTgt spid="88">
                                            <p:txEl>
                                              <p:pRg st="1" end="1"/>
                                            </p:txEl>
                                          </p:spTgt>
                                        </p:tgtEl>
                                        <p:attrNameLst>
                                          <p:attrName>style.visibility</p:attrName>
                                        </p:attrNameLst>
                                      </p:cBhvr>
                                      <p:to>
                                        <p:strVal val="visible"/>
                                      </p:to>
                                    </p:set>
                                    <p:animEffect transition="in" filter="fade">
                                      <p:cBhvr>
                                        <p:cTn id="13" dur="500"/>
                                        <p:tgtEl>
                                          <p:spTgt spid="88">
                                            <p:txEl>
                                              <p:pRg st="1" end="1"/>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88">
                                            <p:txEl>
                                              <p:pRg st="2" end="2"/>
                                            </p:txEl>
                                          </p:spTgt>
                                        </p:tgtEl>
                                        <p:attrNameLst>
                                          <p:attrName>style.visibility</p:attrName>
                                        </p:attrNameLst>
                                      </p:cBhvr>
                                      <p:to>
                                        <p:strVal val="visible"/>
                                      </p:to>
                                    </p:set>
                                    <p:animEffect transition="in" filter="fade">
                                      <p:cBhvr>
                                        <p:cTn id="16" dur="500"/>
                                        <p:tgtEl>
                                          <p:spTgt spid="88">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88">
                                            <p:txEl>
                                              <p:pRg st="3" end="3"/>
                                            </p:txEl>
                                          </p:spTgt>
                                        </p:tgtEl>
                                        <p:attrNameLst>
                                          <p:attrName>style.visibility</p:attrName>
                                        </p:attrNameLst>
                                      </p:cBhvr>
                                      <p:to>
                                        <p:strVal val="visible"/>
                                      </p:to>
                                    </p:set>
                                    <p:animEffect transition="in" filter="fade">
                                      <p:cBhvr>
                                        <p:cTn id="21" dur="500"/>
                                        <p:tgtEl>
                                          <p:spTgt spid="88">
                                            <p:txEl>
                                              <p:pRg st="3" end="3"/>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gtEl>
                                        <p:attrNameLst>
                                          <p:attrName>style.visibility</p:attrName>
                                        </p:attrNameLst>
                                      </p:cBhvr>
                                      <p:to>
                                        <p:strVal val="visible"/>
                                      </p:to>
                                    </p:set>
                                    <p:animEffect transition="in" filter="fade">
                                      <p:cBhvr>
                                        <p:cTn id="24" dur="500"/>
                                        <p:tgtEl>
                                          <p:spTgt spid="3"/>
                                        </p:tgtEl>
                                      </p:cBhvr>
                                    </p:animEffect>
                                  </p:childTnLst>
                                </p:cTn>
                              </p:par>
                              <p:par>
                                <p:cTn id="25" presetID="10" presetClass="entr" presetSubtype="0" fill="hold" nodeType="withEffect">
                                  <p:stCondLst>
                                    <p:cond delay="0"/>
                                  </p:stCondLst>
                                  <p:childTnLst>
                                    <p:set>
                                      <p:cBhvr>
                                        <p:cTn id="26" dur="1" fill="hold">
                                          <p:stCondLst>
                                            <p:cond delay="0"/>
                                          </p:stCondLst>
                                        </p:cTn>
                                        <p:tgtEl>
                                          <p:spTgt spid="122"/>
                                        </p:tgtEl>
                                        <p:attrNameLst>
                                          <p:attrName>style.visibility</p:attrName>
                                        </p:attrNameLst>
                                      </p:cBhvr>
                                      <p:to>
                                        <p:strVal val="visible"/>
                                      </p:to>
                                    </p:set>
                                    <p:animEffect transition="in" filter="fade">
                                      <p:cBhvr>
                                        <p:cTn id="27" dur="500"/>
                                        <p:tgtEl>
                                          <p:spTgt spid="122"/>
                                        </p:tgtEl>
                                      </p:cBhvr>
                                    </p:animEffect>
                                  </p:childTnLst>
                                </p:cTn>
                              </p:par>
                              <p:par>
                                <p:cTn id="28" presetID="10" presetClass="entr" presetSubtype="0" fill="hold" nodeType="withEffect">
                                  <p:stCondLst>
                                    <p:cond delay="0"/>
                                  </p:stCondLst>
                                  <p:childTnLst>
                                    <p:set>
                                      <p:cBhvr>
                                        <p:cTn id="29" dur="1" fill="hold">
                                          <p:stCondLst>
                                            <p:cond delay="0"/>
                                          </p:stCondLst>
                                        </p:cTn>
                                        <p:tgtEl>
                                          <p:spTgt spid="5"/>
                                        </p:tgtEl>
                                        <p:attrNameLst>
                                          <p:attrName>style.visibility</p:attrName>
                                        </p:attrNameLst>
                                      </p:cBhvr>
                                      <p:to>
                                        <p:strVal val="visible"/>
                                      </p:to>
                                    </p:set>
                                    <p:animEffect transition="in" filter="fade">
                                      <p:cBhvr>
                                        <p:cTn id="30" dur="500"/>
                                        <p:tgtEl>
                                          <p:spTgt spid="5"/>
                                        </p:tgtEl>
                                      </p:cBhvr>
                                    </p:animEffect>
                                  </p:childTnLst>
                                </p:cTn>
                              </p:par>
                              <p:par>
                                <p:cTn id="31" presetID="10" presetClass="entr" presetSubtype="0" fill="hold" nodeType="withEffect">
                                  <p:stCondLst>
                                    <p:cond delay="0"/>
                                  </p:stCondLst>
                                  <p:childTnLst>
                                    <p:set>
                                      <p:cBhvr>
                                        <p:cTn id="32" dur="1" fill="hold">
                                          <p:stCondLst>
                                            <p:cond delay="0"/>
                                          </p:stCondLst>
                                        </p:cTn>
                                        <p:tgtEl>
                                          <p:spTgt spid="7"/>
                                        </p:tgtEl>
                                        <p:attrNameLst>
                                          <p:attrName>style.visibility</p:attrName>
                                        </p:attrNameLst>
                                      </p:cBhvr>
                                      <p:to>
                                        <p:strVal val="visible"/>
                                      </p:to>
                                    </p:set>
                                    <p:animEffect transition="in" filter="fade">
                                      <p:cBhvr>
                                        <p:cTn id="33" dur="500"/>
                                        <p:tgtEl>
                                          <p:spTgt spid="7"/>
                                        </p:tgtEl>
                                      </p:cBhvr>
                                    </p:animEffect>
                                  </p:childTnLst>
                                </p:cTn>
                              </p:par>
                              <p:par>
                                <p:cTn id="34" presetID="10" presetClass="entr" presetSubtype="0" fill="hold" nodeType="withEffect">
                                  <p:stCondLst>
                                    <p:cond delay="0"/>
                                  </p:stCondLst>
                                  <p:childTnLst>
                                    <p:set>
                                      <p:cBhvr>
                                        <p:cTn id="35" dur="1" fill="hold">
                                          <p:stCondLst>
                                            <p:cond delay="0"/>
                                          </p:stCondLst>
                                        </p:cTn>
                                        <p:tgtEl>
                                          <p:spTgt spid="126"/>
                                        </p:tgtEl>
                                        <p:attrNameLst>
                                          <p:attrName>style.visibility</p:attrName>
                                        </p:attrNameLst>
                                      </p:cBhvr>
                                      <p:to>
                                        <p:strVal val="visible"/>
                                      </p:to>
                                    </p:set>
                                    <p:animEffect transition="in" filter="fade">
                                      <p:cBhvr>
                                        <p:cTn id="36" dur="500"/>
                                        <p:tgtEl>
                                          <p:spTgt spid="126"/>
                                        </p:tgtEl>
                                      </p:cBhvr>
                                    </p:animEffect>
                                  </p:childTnLst>
                                </p:cTn>
                              </p:par>
                              <p:par>
                                <p:cTn id="37" presetID="10" presetClass="entr" presetSubtype="0" fill="hold" nodeType="withEffect">
                                  <p:stCondLst>
                                    <p:cond delay="0"/>
                                  </p:stCondLst>
                                  <p:childTnLst>
                                    <p:set>
                                      <p:cBhvr>
                                        <p:cTn id="38" dur="1" fill="hold">
                                          <p:stCondLst>
                                            <p:cond delay="0"/>
                                          </p:stCondLst>
                                        </p:cTn>
                                        <p:tgtEl>
                                          <p:spTgt spid="88">
                                            <p:txEl>
                                              <p:pRg st="4" end="4"/>
                                            </p:txEl>
                                          </p:spTgt>
                                        </p:tgtEl>
                                        <p:attrNameLst>
                                          <p:attrName>style.visibility</p:attrName>
                                        </p:attrNameLst>
                                      </p:cBhvr>
                                      <p:to>
                                        <p:strVal val="visible"/>
                                      </p:to>
                                    </p:set>
                                    <p:animEffect transition="in" filter="fade">
                                      <p:cBhvr>
                                        <p:cTn id="39" dur="500"/>
                                        <p:tgtEl>
                                          <p:spTgt spid="88">
                                            <p:txEl>
                                              <p:pRg st="4" end="4"/>
                                            </p:txEl>
                                          </p:spTgt>
                                        </p:tgtEl>
                                      </p:cBhvr>
                                    </p:animEffect>
                                  </p:childTnLst>
                                </p:cTn>
                              </p:par>
                              <p:par>
                                <p:cTn id="40" presetID="10" presetClass="entr" presetSubtype="0" fill="hold" nodeType="withEffect">
                                  <p:stCondLst>
                                    <p:cond delay="0"/>
                                  </p:stCondLst>
                                  <p:childTnLst>
                                    <p:set>
                                      <p:cBhvr>
                                        <p:cTn id="41" dur="1" fill="hold">
                                          <p:stCondLst>
                                            <p:cond delay="0"/>
                                          </p:stCondLst>
                                        </p:cTn>
                                        <p:tgtEl>
                                          <p:spTgt spid="88">
                                            <p:txEl>
                                              <p:pRg st="5" end="5"/>
                                            </p:txEl>
                                          </p:spTgt>
                                        </p:tgtEl>
                                        <p:attrNameLst>
                                          <p:attrName>style.visibility</p:attrName>
                                        </p:attrNameLst>
                                      </p:cBhvr>
                                      <p:to>
                                        <p:strVal val="visible"/>
                                      </p:to>
                                    </p:set>
                                    <p:animEffect transition="in" filter="fade">
                                      <p:cBhvr>
                                        <p:cTn id="42" dur="500"/>
                                        <p:tgtEl>
                                          <p:spTgt spid="88">
                                            <p:txEl>
                                              <p:pRg st="5" end="5"/>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88">
                                            <p:txEl>
                                              <p:pRg st="6" end="6"/>
                                            </p:txEl>
                                          </p:spTgt>
                                        </p:tgtEl>
                                        <p:attrNameLst>
                                          <p:attrName>style.visibility</p:attrName>
                                        </p:attrNameLst>
                                      </p:cBhvr>
                                      <p:to>
                                        <p:strVal val="visible"/>
                                      </p:to>
                                    </p:set>
                                    <p:animEffect transition="in" filter="fade">
                                      <p:cBhvr>
                                        <p:cTn id="47" dur="500"/>
                                        <p:tgtEl>
                                          <p:spTgt spid="88">
                                            <p:txEl>
                                              <p:pRg st="6" end="6"/>
                                            </p:txEl>
                                          </p:spTgt>
                                        </p:tgtEl>
                                      </p:cBhvr>
                                    </p:animEffect>
                                  </p:childTnLst>
                                </p:cTn>
                              </p:par>
                              <p:par>
                                <p:cTn id="48" presetID="10" presetClass="entr" presetSubtype="0" fill="hold" nodeType="withEffect">
                                  <p:stCondLst>
                                    <p:cond delay="0"/>
                                  </p:stCondLst>
                                  <p:childTnLst>
                                    <p:set>
                                      <p:cBhvr>
                                        <p:cTn id="49" dur="1" fill="hold">
                                          <p:stCondLst>
                                            <p:cond delay="0"/>
                                          </p:stCondLst>
                                        </p:cTn>
                                        <p:tgtEl>
                                          <p:spTgt spid="4"/>
                                        </p:tgtEl>
                                        <p:attrNameLst>
                                          <p:attrName>style.visibility</p:attrName>
                                        </p:attrNameLst>
                                      </p:cBhvr>
                                      <p:to>
                                        <p:strVal val="visible"/>
                                      </p:to>
                                    </p:set>
                                    <p:animEffect transition="in" filter="fade">
                                      <p:cBhvr>
                                        <p:cTn id="50" dur="500"/>
                                        <p:tgtEl>
                                          <p:spTgt spid="4"/>
                                        </p:tgtEl>
                                      </p:cBhvr>
                                    </p:animEffect>
                                  </p:childTnLst>
                                </p:cTn>
                              </p:par>
                              <p:par>
                                <p:cTn id="51" presetID="10" presetClass="entr" presetSubtype="0" fill="hold" nodeType="withEffect">
                                  <p:stCondLst>
                                    <p:cond delay="0"/>
                                  </p:stCondLst>
                                  <p:childTnLst>
                                    <p:set>
                                      <p:cBhvr>
                                        <p:cTn id="52" dur="1" fill="hold">
                                          <p:stCondLst>
                                            <p:cond delay="0"/>
                                          </p:stCondLst>
                                        </p:cTn>
                                        <p:tgtEl>
                                          <p:spTgt spid="125"/>
                                        </p:tgtEl>
                                        <p:attrNameLst>
                                          <p:attrName>style.visibility</p:attrName>
                                        </p:attrNameLst>
                                      </p:cBhvr>
                                      <p:to>
                                        <p:strVal val="visible"/>
                                      </p:to>
                                    </p:set>
                                    <p:animEffect transition="in" filter="fade">
                                      <p:cBhvr>
                                        <p:cTn id="53" dur="500"/>
                                        <p:tgtEl>
                                          <p:spTgt spid="125"/>
                                        </p:tgtEl>
                                      </p:cBhvr>
                                    </p:animEffect>
                                  </p:childTnLst>
                                </p:cTn>
                              </p:par>
                              <p:par>
                                <p:cTn id="54" presetID="10" presetClass="entr" presetSubtype="0" fill="hold" nodeType="withEffect">
                                  <p:stCondLst>
                                    <p:cond delay="0"/>
                                  </p:stCondLst>
                                  <p:childTnLst>
                                    <p:set>
                                      <p:cBhvr>
                                        <p:cTn id="55" dur="1" fill="hold">
                                          <p:stCondLst>
                                            <p:cond delay="0"/>
                                          </p:stCondLst>
                                        </p:cTn>
                                        <p:tgtEl>
                                          <p:spTgt spid="117"/>
                                        </p:tgtEl>
                                        <p:attrNameLst>
                                          <p:attrName>style.visibility</p:attrName>
                                        </p:attrNameLst>
                                      </p:cBhvr>
                                      <p:to>
                                        <p:strVal val="visible"/>
                                      </p:to>
                                    </p:set>
                                    <p:animEffect transition="in" filter="fade">
                                      <p:cBhvr>
                                        <p:cTn id="56" dur="500"/>
                                        <p:tgtEl>
                                          <p:spTgt spid="117"/>
                                        </p:tgtEl>
                                      </p:cBhvr>
                                    </p:animEffect>
                                  </p:childTnLst>
                                </p:cTn>
                              </p:par>
                              <p:par>
                                <p:cTn id="57" presetID="10" presetClass="entr" presetSubtype="0" fill="hold" nodeType="withEffect">
                                  <p:stCondLst>
                                    <p:cond delay="0"/>
                                  </p:stCondLst>
                                  <p:childTnLst>
                                    <p:set>
                                      <p:cBhvr>
                                        <p:cTn id="58" dur="1" fill="hold">
                                          <p:stCondLst>
                                            <p:cond delay="0"/>
                                          </p:stCondLst>
                                        </p:cTn>
                                        <p:tgtEl>
                                          <p:spTgt spid="121"/>
                                        </p:tgtEl>
                                        <p:attrNameLst>
                                          <p:attrName>style.visibility</p:attrName>
                                        </p:attrNameLst>
                                      </p:cBhvr>
                                      <p:to>
                                        <p:strVal val="visible"/>
                                      </p:to>
                                    </p:set>
                                    <p:animEffect transition="in" filter="fade">
                                      <p:cBhvr>
                                        <p:cTn id="59" dur="500"/>
                                        <p:tgtEl>
                                          <p:spTgt spid="121"/>
                                        </p:tgtEl>
                                      </p:cBhvr>
                                    </p:animEffect>
                                  </p:childTnLst>
                                </p:cTn>
                              </p:par>
                              <p:par>
                                <p:cTn id="60" presetID="10" presetClass="entr" presetSubtype="0" fill="hold" nodeType="withEffect">
                                  <p:stCondLst>
                                    <p:cond delay="0"/>
                                  </p:stCondLst>
                                  <p:childTnLst>
                                    <p:set>
                                      <p:cBhvr>
                                        <p:cTn id="61" dur="1" fill="hold">
                                          <p:stCondLst>
                                            <p:cond delay="0"/>
                                          </p:stCondLst>
                                        </p:cTn>
                                        <p:tgtEl>
                                          <p:spTgt spid="88">
                                            <p:txEl>
                                              <p:pRg st="7" end="7"/>
                                            </p:txEl>
                                          </p:spTgt>
                                        </p:tgtEl>
                                        <p:attrNameLst>
                                          <p:attrName>style.visibility</p:attrName>
                                        </p:attrNameLst>
                                      </p:cBhvr>
                                      <p:to>
                                        <p:strVal val="visible"/>
                                      </p:to>
                                    </p:set>
                                    <p:animEffect transition="in" filter="fade">
                                      <p:cBhvr>
                                        <p:cTn id="62" dur="500"/>
                                        <p:tgtEl>
                                          <p:spTgt spid="88">
                                            <p:txEl>
                                              <p:pRg st="7" end="7"/>
                                            </p:txEl>
                                          </p:spTgt>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nodeType="clickEffect">
                                  <p:stCondLst>
                                    <p:cond delay="0"/>
                                  </p:stCondLst>
                                  <p:childTnLst>
                                    <p:set>
                                      <p:cBhvr>
                                        <p:cTn id="66" dur="1" fill="hold">
                                          <p:stCondLst>
                                            <p:cond delay="0"/>
                                          </p:stCondLst>
                                        </p:cTn>
                                        <p:tgtEl>
                                          <p:spTgt spid="88">
                                            <p:txEl>
                                              <p:pRg st="8" end="8"/>
                                            </p:txEl>
                                          </p:spTgt>
                                        </p:tgtEl>
                                        <p:attrNameLst>
                                          <p:attrName>style.visibility</p:attrName>
                                        </p:attrNameLst>
                                      </p:cBhvr>
                                      <p:to>
                                        <p:strVal val="visible"/>
                                      </p:to>
                                    </p:set>
                                    <p:animEffect transition="in" filter="fade">
                                      <p:cBhvr>
                                        <p:cTn id="67" dur="500"/>
                                        <p:tgtEl>
                                          <p:spTgt spid="88">
                                            <p:txEl>
                                              <p:pRg st="8" end="8"/>
                                            </p:txEl>
                                          </p:spTgt>
                                        </p:tgtEl>
                                      </p:cBhvr>
                                    </p:animEffect>
                                  </p:childTnLst>
                                </p:cTn>
                              </p:par>
                              <p:par>
                                <p:cTn id="68" presetID="10" presetClass="entr" presetSubtype="0" fill="hold" nodeType="withEffect">
                                  <p:stCondLst>
                                    <p:cond delay="0"/>
                                  </p:stCondLst>
                                  <p:childTnLst>
                                    <p:set>
                                      <p:cBhvr>
                                        <p:cTn id="69" dur="1" fill="hold">
                                          <p:stCondLst>
                                            <p:cond delay="0"/>
                                          </p:stCondLst>
                                        </p:cTn>
                                        <p:tgtEl>
                                          <p:spTgt spid="116"/>
                                        </p:tgtEl>
                                        <p:attrNameLst>
                                          <p:attrName>style.visibility</p:attrName>
                                        </p:attrNameLst>
                                      </p:cBhvr>
                                      <p:to>
                                        <p:strVal val="visible"/>
                                      </p:to>
                                    </p:set>
                                    <p:animEffect transition="in" filter="fade">
                                      <p:cBhvr>
                                        <p:cTn id="70" dur="500"/>
                                        <p:tgtEl>
                                          <p:spTgt spid="116"/>
                                        </p:tgtEl>
                                      </p:cBhvr>
                                    </p:animEffect>
                                  </p:childTnLst>
                                </p:cTn>
                              </p:par>
                              <p:par>
                                <p:cTn id="71" presetID="10" presetClass="entr" presetSubtype="0" fill="hold" nodeType="withEffect">
                                  <p:stCondLst>
                                    <p:cond delay="0"/>
                                  </p:stCondLst>
                                  <p:childTnLst>
                                    <p:set>
                                      <p:cBhvr>
                                        <p:cTn id="72" dur="1" fill="hold">
                                          <p:stCondLst>
                                            <p:cond delay="0"/>
                                          </p:stCondLst>
                                        </p:cTn>
                                        <p:tgtEl>
                                          <p:spTgt spid="88">
                                            <p:txEl>
                                              <p:pRg st="9" end="9"/>
                                            </p:txEl>
                                          </p:spTgt>
                                        </p:tgtEl>
                                        <p:attrNameLst>
                                          <p:attrName>style.visibility</p:attrName>
                                        </p:attrNameLst>
                                      </p:cBhvr>
                                      <p:to>
                                        <p:strVal val="visible"/>
                                      </p:to>
                                    </p:set>
                                    <p:animEffect transition="in" filter="fade">
                                      <p:cBhvr>
                                        <p:cTn id="73" dur="500"/>
                                        <p:tgtEl>
                                          <p:spTgt spid="88">
                                            <p:txEl>
                                              <p:pRg st="9" end="9"/>
                                            </p:txEl>
                                          </p:spTgt>
                                        </p:tgtEl>
                                      </p:cBhvr>
                                    </p:animEffect>
                                  </p:childTnLst>
                                </p:cTn>
                              </p:par>
                              <p:par>
                                <p:cTn id="74" presetID="10" presetClass="entr" presetSubtype="0" fill="hold" nodeType="withEffect">
                                  <p:stCondLst>
                                    <p:cond delay="0"/>
                                  </p:stCondLst>
                                  <p:childTnLst>
                                    <p:set>
                                      <p:cBhvr>
                                        <p:cTn id="75" dur="1" fill="hold">
                                          <p:stCondLst>
                                            <p:cond delay="0"/>
                                          </p:stCondLst>
                                        </p:cTn>
                                        <p:tgtEl>
                                          <p:spTgt spid="128"/>
                                        </p:tgtEl>
                                        <p:attrNameLst>
                                          <p:attrName>style.visibility</p:attrName>
                                        </p:attrNameLst>
                                      </p:cBhvr>
                                      <p:to>
                                        <p:strVal val="visible"/>
                                      </p:to>
                                    </p:set>
                                    <p:animEffect transition="in" filter="fade">
                                      <p:cBhvr>
                                        <p:cTn id="76" dur="500"/>
                                        <p:tgtEl>
                                          <p:spTgt spid="128"/>
                                        </p:tgtEl>
                                      </p:cBhvr>
                                    </p:animEffect>
                                  </p:childTnLst>
                                </p:cTn>
                              </p:par>
                              <p:par>
                                <p:cTn id="77" presetID="10" presetClass="entr" presetSubtype="0" fill="hold" nodeType="withEffect">
                                  <p:stCondLst>
                                    <p:cond delay="0"/>
                                  </p:stCondLst>
                                  <p:childTnLst>
                                    <p:set>
                                      <p:cBhvr>
                                        <p:cTn id="78" dur="1" fill="hold">
                                          <p:stCondLst>
                                            <p:cond delay="0"/>
                                          </p:stCondLst>
                                        </p:cTn>
                                        <p:tgtEl>
                                          <p:spTgt spid="123"/>
                                        </p:tgtEl>
                                        <p:attrNameLst>
                                          <p:attrName>style.visibility</p:attrName>
                                        </p:attrNameLst>
                                      </p:cBhvr>
                                      <p:to>
                                        <p:strVal val="visible"/>
                                      </p:to>
                                    </p:set>
                                    <p:animEffect transition="in" filter="fade">
                                      <p:cBhvr>
                                        <p:cTn id="79" dur="500"/>
                                        <p:tgtEl>
                                          <p:spTgt spid="123"/>
                                        </p:tgtEl>
                                      </p:cBhvr>
                                    </p:animEffect>
                                  </p:childTnLst>
                                </p:cTn>
                              </p:par>
                              <p:par>
                                <p:cTn id="80" presetID="10" presetClass="entr" presetSubtype="0" fill="hold" nodeType="withEffect">
                                  <p:stCondLst>
                                    <p:cond delay="0"/>
                                  </p:stCondLst>
                                  <p:childTnLst>
                                    <p:set>
                                      <p:cBhvr>
                                        <p:cTn id="81" dur="1" fill="hold">
                                          <p:stCondLst>
                                            <p:cond delay="0"/>
                                          </p:stCondLst>
                                        </p:cTn>
                                        <p:tgtEl>
                                          <p:spTgt spid="6"/>
                                        </p:tgtEl>
                                        <p:attrNameLst>
                                          <p:attrName>style.visibility</p:attrName>
                                        </p:attrNameLst>
                                      </p:cBhvr>
                                      <p:to>
                                        <p:strVal val="visible"/>
                                      </p:to>
                                    </p:set>
                                    <p:animEffect transition="in" filter="fade">
                                      <p:cBhvr>
                                        <p:cTn id="82" dur="500"/>
                                        <p:tgtEl>
                                          <p:spTgt spid="6"/>
                                        </p:tgtEl>
                                      </p:cBhvr>
                                    </p:animEffect>
                                  </p:childTnLst>
                                </p:cTn>
                              </p:par>
                              <p:par>
                                <p:cTn id="83" presetID="10" presetClass="entr" presetSubtype="0" fill="hold" nodeType="withEffect">
                                  <p:stCondLst>
                                    <p:cond delay="0"/>
                                  </p:stCondLst>
                                  <p:childTnLst>
                                    <p:set>
                                      <p:cBhvr>
                                        <p:cTn id="84" dur="1" fill="hold">
                                          <p:stCondLst>
                                            <p:cond delay="0"/>
                                          </p:stCondLst>
                                        </p:cTn>
                                        <p:tgtEl>
                                          <p:spTgt spid="124"/>
                                        </p:tgtEl>
                                        <p:attrNameLst>
                                          <p:attrName>style.visibility</p:attrName>
                                        </p:attrNameLst>
                                      </p:cBhvr>
                                      <p:to>
                                        <p:strVal val="visible"/>
                                      </p:to>
                                    </p:set>
                                    <p:animEffect transition="in" filter="fade">
                                      <p:cBhvr>
                                        <p:cTn id="85" dur="500"/>
                                        <p:tgtEl>
                                          <p:spTgt spid="124"/>
                                        </p:tgtEl>
                                      </p:cBhvr>
                                    </p:animEffect>
                                  </p:childTnLst>
                                </p:cTn>
                              </p:par>
                              <p:par>
                                <p:cTn id="86" presetID="10" presetClass="entr" presetSubtype="0" fill="hold" nodeType="withEffect">
                                  <p:stCondLst>
                                    <p:cond delay="0"/>
                                  </p:stCondLst>
                                  <p:childTnLst>
                                    <p:set>
                                      <p:cBhvr>
                                        <p:cTn id="87" dur="1" fill="hold">
                                          <p:stCondLst>
                                            <p:cond delay="0"/>
                                          </p:stCondLst>
                                        </p:cTn>
                                        <p:tgtEl>
                                          <p:spTgt spid="88">
                                            <p:txEl>
                                              <p:pRg st="10" end="10"/>
                                            </p:txEl>
                                          </p:spTgt>
                                        </p:tgtEl>
                                        <p:attrNameLst>
                                          <p:attrName>style.visibility</p:attrName>
                                        </p:attrNameLst>
                                      </p:cBhvr>
                                      <p:to>
                                        <p:strVal val="visible"/>
                                      </p:to>
                                    </p:set>
                                    <p:animEffect transition="in" filter="fade">
                                      <p:cBhvr>
                                        <p:cTn id="88" dur="500"/>
                                        <p:tgtEl>
                                          <p:spTgt spid="88">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Title 1"/>
          <p:cNvSpPr txBox="1">
            <a:spLocks/>
          </p:cNvSpPr>
          <p:nvPr/>
        </p:nvSpPr>
        <p:spPr>
          <a:xfrm>
            <a:off x="-822566" y="482296"/>
            <a:ext cx="11979275" cy="1555750"/>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endParaRPr kumimoji="0" lang="en-US" sz="4800" b="0" i="0" u="none" strike="noStrike" kern="1200" cap="none" spc="-102" normalizeH="0" baseline="0" noProof="0" dirty="0">
              <a:ln w="3175">
                <a:noFill/>
              </a:ln>
              <a:solidFill>
                <a:srgbClr val="FFFFFF"/>
              </a:solidFill>
              <a:effectLst/>
              <a:uLnTx/>
              <a:uFillTx/>
              <a:latin typeface="Segoe UI Light"/>
              <a:ea typeface="+mn-ea"/>
              <a:cs typeface="Segoe UI" pitchFamily="34" charset="0"/>
            </a:endParaRPr>
          </a:p>
        </p:txBody>
      </p:sp>
      <p:sp>
        <p:nvSpPr>
          <p:cNvPr id="7" name="TextBox 6"/>
          <p:cNvSpPr txBox="1"/>
          <p:nvPr/>
        </p:nvSpPr>
        <p:spPr>
          <a:xfrm>
            <a:off x="1655762" y="2247900"/>
            <a:ext cx="8311473" cy="2985433"/>
          </a:xfrm>
          <a:prstGeom prst="rect">
            <a:avLst/>
          </a:prstGeom>
          <a:noFill/>
        </p:spPr>
        <p:txBody>
          <a:bodyPr wrap="square">
            <a:spAutoFit/>
          </a:bodyPr>
          <a:lstStyle/>
          <a:p>
            <a:pPr marL="0" marR="0" lvl="0" indent="0" algn="l" defTabSz="932742" rtl="0" eaLnBrk="1" fontAlgn="auto" latinLnBrk="0" hangingPunct="1">
              <a:lnSpc>
                <a:spcPct val="100000"/>
              </a:lnSpc>
              <a:spcBef>
                <a:spcPts val="0"/>
              </a:spcBef>
              <a:spcAft>
                <a:spcPts val="2400"/>
              </a:spcAft>
              <a:buClrTx/>
              <a:buSzTx/>
              <a:buFontTx/>
              <a:buNone/>
              <a:tabLst/>
              <a:defRPr/>
            </a:pPr>
            <a:r>
              <a:rPr kumimoji="0" lang="en-US" sz="3200" b="0" i="0" u="none" strike="noStrike" kern="1200" cap="none" spc="0" normalizeH="0" baseline="0" noProof="0" dirty="0">
                <a:ln>
                  <a:noFill/>
                </a:ln>
                <a:effectLst/>
                <a:uLnTx/>
                <a:uFillTx/>
                <a:latin typeface="Segoe UI Light" panose="020B0502040204020203" pitchFamily="34" charset="0"/>
                <a:ea typeface="MS PGothic" panose="020B0600070205080204" pitchFamily="34" charset="-128"/>
                <a:cs typeface="Segoe UI Light" panose="020B0502040204020203" pitchFamily="34" charset="0"/>
              </a:rPr>
              <a:t>Millions of simultaneously connected devices</a:t>
            </a:r>
          </a:p>
          <a:p>
            <a:pPr marL="0" marR="0" lvl="0" indent="0" algn="l" defTabSz="932742" rtl="0" eaLnBrk="1" fontAlgn="auto" latinLnBrk="0" hangingPunct="1">
              <a:lnSpc>
                <a:spcPct val="100000"/>
              </a:lnSpc>
              <a:spcBef>
                <a:spcPts val="0"/>
              </a:spcBef>
              <a:spcAft>
                <a:spcPts val="2400"/>
              </a:spcAft>
              <a:buClrTx/>
              <a:buSzTx/>
              <a:buFontTx/>
              <a:buNone/>
              <a:tabLst/>
              <a:defRPr/>
            </a:pPr>
            <a:r>
              <a:rPr kumimoji="0" lang="en-US" sz="3200" b="0" i="0" u="none" strike="noStrike" kern="1200" cap="none" spc="0" normalizeH="0" baseline="0" noProof="0" dirty="0">
                <a:ln>
                  <a:noFill/>
                </a:ln>
                <a:effectLst/>
                <a:uLnTx/>
                <a:uFillTx/>
                <a:latin typeface="Segoe UI Light"/>
                <a:ea typeface="MS PGothic" panose="020B0600070205080204" pitchFamily="34" charset="-128"/>
                <a:cs typeface="+mn-cs"/>
              </a:rPr>
              <a:t>Per-device authentication</a:t>
            </a:r>
          </a:p>
          <a:p>
            <a:pPr marL="0" marR="0" lvl="0" indent="0" algn="l" defTabSz="932742" rtl="0" eaLnBrk="1" fontAlgn="auto" latinLnBrk="0" hangingPunct="1">
              <a:lnSpc>
                <a:spcPct val="100000"/>
              </a:lnSpc>
              <a:spcBef>
                <a:spcPts val="0"/>
              </a:spcBef>
              <a:spcAft>
                <a:spcPts val="2400"/>
              </a:spcAft>
              <a:buClrTx/>
              <a:buSzTx/>
              <a:buFontTx/>
              <a:buNone/>
              <a:tabLst/>
              <a:defRPr/>
            </a:pPr>
            <a:r>
              <a:rPr kumimoji="0" lang="en-US" sz="3200" b="0" i="0" u="none" strike="noStrike" kern="1200" cap="none" spc="0" normalizeH="0" baseline="0" noProof="0" dirty="0">
                <a:ln>
                  <a:noFill/>
                </a:ln>
                <a:effectLst/>
                <a:uLnTx/>
                <a:uFillTx/>
                <a:latin typeface="Segoe UI Light"/>
                <a:ea typeface="MS PGothic" panose="020B0600070205080204" pitchFamily="34" charset="-128"/>
                <a:cs typeface="+mn-cs"/>
              </a:rPr>
              <a:t>High throughput D2C messaging</a:t>
            </a:r>
          </a:p>
          <a:p>
            <a:pPr marL="0" marR="0" lvl="0" indent="0" algn="l" defTabSz="932742" rtl="0" eaLnBrk="1" fontAlgn="auto" latinLnBrk="0" hangingPunct="1">
              <a:lnSpc>
                <a:spcPct val="100000"/>
              </a:lnSpc>
              <a:spcBef>
                <a:spcPts val="0"/>
              </a:spcBef>
              <a:spcAft>
                <a:spcPts val="2400"/>
              </a:spcAft>
              <a:buClrTx/>
              <a:buSzTx/>
              <a:buFontTx/>
              <a:buNone/>
              <a:tabLst/>
              <a:defRPr/>
            </a:pPr>
            <a:r>
              <a:rPr kumimoji="0" lang="en-US" sz="3200" b="0" i="0" u="none" strike="noStrike" kern="1200" cap="none" spc="0" normalizeH="0" baseline="0" noProof="0" dirty="0">
                <a:ln>
                  <a:noFill/>
                </a:ln>
                <a:effectLst/>
                <a:uLnTx/>
                <a:uFillTx/>
                <a:latin typeface="Segoe UI Light"/>
                <a:ea typeface="MS PGothic" panose="020B0600070205080204" pitchFamily="34" charset="-128"/>
                <a:cs typeface="+mn-cs"/>
              </a:rPr>
              <a:t>Reliable C2D messaging</a:t>
            </a:r>
          </a:p>
        </p:txBody>
      </p:sp>
      <p:grpSp>
        <p:nvGrpSpPr>
          <p:cNvPr id="8" name="Group 7"/>
          <p:cNvGrpSpPr/>
          <p:nvPr/>
        </p:nvGrpSpPr>
        <p:grpSpPr>
          <a:xfrm rot="18900000">
            <a:off x="751721" y="2258050"/>
            <a:ext cx="451122" cy="303567"/>
            <a:chOff x="8913812" y="1031876"/>
            <a:chExt cx="1524000" cy="1025524"/>
          </a:xfrm>
          <a:solidFill>
            <a:srgbClr val="0078D7"/>
          </a:solidFill>
        </p:grpSpPr>
        <p:sp>
          <p:nvSpPr>
            <p:cNvPr id="18" name="Rectangle 17"/>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 name="Rectangle 18"/>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4" name="Group 23"/>
          <p:cNvGrpSpPr/>
          <p:nvPr/>
        </p:nvGrpSpPr>
        <p:grpSpPr>
          <a:xfrm rot="18900000">
            <a:off x="751721" y="3076352"/>
            <a:ext cx="451122" cy="303567"/>
            <a:chOff x="8913812" y="1031876"/>
            <a:chExt cx="1524000" cy="1025524"/>
          </a:xfrm>
          <a:solidFill>
            <a:srgbClr val="0078D7"/>
          </a:solidFill>
        </p:grpSpPr>
        <p:sp>
          <p:nvSpPr>
            <p:cNvPr id="25" name="Rectangle 24"/>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 name="Rectangle 25"/>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7" name="Group 26"/>
          <p:cNvGrpSpPr/>
          <p:nvPr/>
        </p:nvGrpSpPr>
        <p:grpSpPr>
          <a:xfrm rot="18900000">
            <a:off x="751721" y="3903951"/>
            <a:ext cx="451122" cy="303567"/>
            <a:chOff x="8913812" y="1031876"/>
            <a:chExt cx="1524000" cy="1025524"/>
          </a:xfrm>
          <a:solidFill>
            <a:srgbClr val="0078D7"/>
          </a:solidFill>
        </p:grpSpPr>
        <p:sp>
          <p:nvSpPr>
            <p:cNvPr id="28" name="Rectangle 27"/>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 name="Rectangle 28"/>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0" name="Group 29"/>
          <p:cNvGrpSpPr/>
          <p:nvPr/>
        </p:nvGrpSpPr>
        <p:grpSpPr>
          <a:xfrm rot="18900000">
            <a:off x="751721" y="4722253"/>
            <a:ext cx="451122" cy="303567"/>
            <a:chOff x="8913812" y="1031876"/>
            <a:chExt cx="1524000" cy="1025524"/>
          </a:xfrm>
          <a:solidFill>
            <a:srgbClr val="0078D7"/>
          </a:solidFill>
        </p:grpSpPr>
        <p:sp>
          <p:nvSpPr>
            <p:cNvPr id="31" name="Rectangle 30"/>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2" name="Rectangle 31"/>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7" name="Group 36"/>
          <p:cNvGrpSpPr>
            <a:grpSpLocks/>
          </p:cNvGrpSpPr>
          <p:nvPr/>
        </p:nvGrpSpPr>
        <p:grpSpPr bwMode="auto">
          <a:xfrm flipH="1">
            <a:off x="7589822" y="1943100"/>
            <a:ext cx="4313237" cy="3409950"/>
            <a:chOff x="2348247" y="1709773"/>
            <a:chExt cx="7397345" cy="5322534"/>
          </a:xfrm>
        </p:grpSpPr>
        <p:pic>
          <p:nvPicPr>
            <p:cNvPr id="38" name="Picture 34"/>
            <p:cNvPicPr>
              <a:picLocks noChangeAspect="1"/>
            </p:cNvPicPr>
            <p:nvPr/>
          </p:nvPicPr>
          <p:blipFill>
            <a:blip r:embed="rId3">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35"/>
            <p:cNvPicPr>
              <a:picLocks noChangeAspect="1"/>
            </p:cNvPicPr>
            <p:nvPr/>
          </p:nvPicPr>
          <p:blipFill>
            <a:blip r:embed="rId4">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Title 2"/>
          <p:cNvSpPr>
            <a:spLocks noGrp="1"/>
          </p:cNvSpPr>
          <p:nvPr>
            <p:ph type="title"/>
          </p:nvPr>
        </p:nvSpPr>
        <p:spPr/>
        <p:txBody>
          <a:bodyPr/>
          <a:lstStyle/>
          <a:p>
            <a:pPr lvl="0"/>
            <a:r>
              <a:rPr lang="en-US" dirty="0" err="1"/>
              <a:t>IoT</a:t>
            </a:r>
            <a:r>
              <a:rPr lang="en-US" dirty="0"/>
              <a:t> Hub helps connect your devices to Azure</a:t>
            </a:r>
            <a:br>
              <a:rPr lang="en-US" dirty="0"/>
            </a:br>
            <a:endParaRPr lang="en-US" dirty="0"/>
          </a:p>
        </p:txBody>
      </p:sp>
    </p:spTree>
    <p:extLst>
      <p:ext uri="{BB962C8B-B14F-4D97-AF65-F5344CB8AC3E}">
        <p14:creationId xmlns:p14="http://schemas.microsoft.com/office/powerpoint/2010/main" val="26881202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10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64" y="-1074688"/>
            <a:ext cx="12434711" cy="8283430"/>
          </a:xfrm>
          <a:prstGeom prst="rect">
            <a:avLst/>
          </a:prstGeom>
        </p:spPr>
      </p:pic>
      <p:sp>
        <p:nvSpPr>
          <p:cNvPr id="5" name="Rectangle 4"/>
          <p:cNvSpPr/>
          <p:nvPr/>
        </p:nvSpPr>
        <p:spPr>
          <a:xfrm>
            <a:off x="458019" y="2943811"/>
            <a:ext cx="6948926" cy="1193524"/>
          </a:xfrm>
          <a:prstGeom prst="rect">
            <a:avLst/>
          </a:prstGeom>
          <a:solidFill>
            <a:schemeClr val="bg2">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86521" rIns="186521" bIns="186521" rtlCol="0" anchor="t"/>
          <a:lstStyle/>
          <a:p>
            <a:r>
              <a:rPr lang="en-US" sz="4400" dirty="0">
                <a:solidFill>
                  <a:srgbClr val="FFFFFF"/>
                </a:solidFill>
                <a:latin typeface="+mj-lt"/>
              </a:rPr>
              <a:t>Preconfigured solutions</a:t>
            </a:r>
            <a:endParaRPr lang="en-US" sz="4400" dirty="0">
              <a:solidFill>
                <a:srgbClr val="FFFFFF"/>
              </a:solidFill>
              <a:latin typeface="+mj-lt"/>
              <a:cs typeface="Segoe UI Light" panose="020B0502040204020203" pitchFamily="34" charset="0"/>
            </a:endParaRPr>
          </a:p>
        </p:txBody>
      </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ltGray">
          <a:xfrm>
            <a:off x="458018" y="477661"/>
            <a:ext cx="1552711" cy="332660"/>
          </a:xfrm>
          <a:prstGeom prst="rect">
            <a:avLst/>
          </a:prstGeom>
        </p:spPr>
      </p:pic>
    </p:spTree>
    <p:extLst>
      <p:ext uri="{BB962C8B-B14F-4D97-AF65-F5344CB8AC3E}">
        <p14:creationId xmlns:p14="http://schemas.microsoft.com/office/powerpoint/2010/main" val="13603356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0">
  <p:cSld>
    <p:bg>
      <p:bgPr>
        <a:gradFill>
          <a:gsLst>
            <a:gs pos="0">
              <a:srgbClr val="002050"/>
            </a:gs>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Remote monitoring preconfigured solution</a:t>
            </a:r>
          </a:p>
        </p:txBody>
      </p:sp>
      <p:pic>
        <p:nvPicPr>
          <p:cNvPr id="134146" name="Picture 2" descr="Logical architectur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03482" y="1458882"/>
            <a:ext cx="8566112" cy="55130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6668324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Predictive maintenance solution</a:t>
            </a:r>
          </a:p>
        </p:txBody>
      </p:sp>
      <p:pic>
        <p:nvPicPr>
          <p:cNvPr id="135170" name="Picture 2" descr="https://docs.microsoft.com/en-us/azure/iot-suite/media/iot-suite-predictive-walkthrough/architectur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4921" y="1302726"/>
            <a:ext cx="8320949" cy="56859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408774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25D90-5B4F-4B89-98D5-7C55B5A723A3}"/>
              </a:ext>
            </a:extLst>
          </p:cNvPr>
          <p:cNvSpPr>
            <a:spLocks noGrp="1"/>
          </p:cNvSpPr>
          <p:nvPr>
            <p:ph type="title"/>
          </p:nvPr>
        </p:nvSpPr>
        <p:spPr/>
        <p:txBody>
          <a:bodyPr/>
          <a:lstStyle/>
          <a:p>
            <a:r>
              <a:rPr lang="sv-SE" dirty="0"/>
              <a:t>Azure Portal</a:t>
            </a:r>
          </a:p>
        </p:txBody>
      </p:sp>
      <p:grpSp>
        <p:nvGrpSpPr>
          <p:cNvPr id="168" name="Group 167">
            <a:extLst>
              <a:ext uri="{FF2B5EF4-FFF2-40B4-BE49-F238E27FC236}">
                <a16:creationId xmlns:a16="http://schemas.microsoft.com/office/drawing/2014/main" id="{CE07A894-2AD4-46D6-B9EF-652DD4A4F253}"/>
              </a:ext>
            </a:extLst>
          </p:cNvPr>
          <p:cNvGrpSpPr/>
          <p:nvPr/>
        </p:nvGrpSpPr>
        <p:grpSpPr>
          <a:xfrm>
            <a:off x="1105572" y="2491433"/>
            <a:ext cx="10357346" cy="3453144"/>
            <a:chOff x="1105572" y="2491433"/>
            <a:chExt cx="10357346" cy="3453144"/>
          </a:xfrm>
        </p:grpSpPr>
        <p:pic>
          <p:nvPicPr>
            <p:cNvPr id="5" name="Picture 4">
              <a:extLst>
                <a:ext uri="{FF2B5EF4-FFF2-40B4-BE49-F238E27FC236}">
                  <a16:creationId xmlns:a16="http://schemas.microsoft.com/office/drawing/2014/main" id="{D96969B6-5041-46AF-A27A-5038B5C66903}"/>
                </a:ext>
              </a:extLst>
            </p:cNvPr>
            <p:cNvPicPr>
              <a:picLocks noChangeAspect="1"/>
            </p:cNvPicPr>
            <p:nvPr/>
          </p:nvPicPr>
          <p:blipFill>
            <a:blip r:embed="rId2"/>
            <a:stretch>
              <a:fillRect/>
            </a:stretch>
          </p:blipFill>
          <p:spPr>
            <a:xfrm>
              <a:off x="6372316" y="2491433"/>
              <a:ext cx="457195" cy="457195"/>
            </a:xfrm>
            <a:prstGeom prst="rect">
              <a:avLst/>
            </a:prstGeom>
          </p:spPr>
        </p:pic>
        <p:pic>
          <p:nvPicPr>
            <p:cNvPr id="9" name="Picture 8">
              <a:extLst>
                <a:ext uri="{FF2B5EF4-FFF2-40B4-BE49-F238E27FC236}">
                  <a16:creationId xmlns:a16="http://schemas.microsoft.com/office/drawing/2014/main" id="{03391CA6-5F66-4F86-8657-CB9F5EA652C3}"/>
                </a:ext>
              </a:extLst>
            </p:cNvPr>
            <p:cNvPicPr>
              <a:picLocks noChangeAspect="1"/>
            </p:cNvPicPr>
            <p:nvPr/>
          </p:nvPicPr>
          <p:blipFill>
            <a:blip r:embed="rId3"/>
            <a:stretch>
              <a:fillRect/>
            </a:stretch>
          </p:blipFill>
          <p:spPr>
            <a:xfrm>
              <a:off x="5619924" y="2491433"/>
              <a:ext cx="457195" cy="457195"/>
            </a:xfrm>
            <a:prstGeom prst="rect">
              <a:avLst/>
            </a:prstGeom>
          </p:spPr>
        </p:pic>
        <p:pic>
          <p:nvPicPr>
            <p:cNvPr id="11" name="Picture 10">
              <a:extLst>
                <a:ext uri="{FF2B5EF4-FFF2-40B4-BE49-F238E27FC236}">
                  <a16:creationId xmlns:a16="http://schemas.microsoft.com/office/drawing/2014/main" id="{DC9935E4-009D-48BB-B98A-35D6392531E1}"/>
                </a:ext>
              </a:extLst>
            </p:cNvPr>
            <p:cNvPicPr>
              <a:picLocks noChangeAspect="1"/>
            </p:cNvPicPr>
            <p:nvPr/>
          </p:nvPicPr>
          <p:blipFill>
            <a:blip r:embed="rId4"/>
            <a:stretch>
              <a:fillRect/>
            </a:stretch>
          </p:blipFill>
          <p:spPr>
            <a:xfrm>
              <a:off x="4867532" y="2491433"/>
              <a:ext cx="457195" cy="457195"/>
            </a:xfrm>
            <a:prstGeom prst="rect">
              <a:avLst/>
            </a:prstGeom>
          </p:spPr>
        </p:pic>
        <p:pic>
          <p:nvPicPr>
            <p:cNvPr id="13" name="Picture 12">
              <a:extLst>
                <a:ext uri="{FF2B5EF4-FFF2-40B4-BE49-F238E27FC236}">
                  <a16:creationId xmlns:a16="http://schemas.microsoft.com/office/drawing/2014/main" id="{D3DCEA5F-F9AC-4144-87E6-DCC5BEC9B337}"/>
                </a:ext>
              </a:extLst>
            </p:cNvPr>
            <p:cNvPicPr>
              <a:picLocks noChangeAspect="1"/>
            </p:cNvPicPr>
            <p:nvPr/>
          </p:nvPicPr>
          <p:blipFill>
            <a:blip r:embed="rId5"/>
            <a:stretch>
              <a:fillRect/>
            </a:stretch>
          </p:blipFill>
          <p:spPr>
            <a:xfrm>
              <a:off x="4115140" y="2491433"/>
              <a:ext cx="457195" cy="457195"/>
            </a:xfrm>
            <a:prstGeom prst="rect">
              <a:avLst/>
            </a:prstGeom>
          </p:spPr>
        </p:pic>
        <p:pic>
          <p:nvPicPr>
            <p:cNvPr id="17" name="Picture 16">
              <a:extLst>
                <a:ext uri="{FF2B5EF4-FFF2-40B4-BE49-F238E27FC236}">
                  <a16:creationId xmlns:a16="http://schemas.microsoft.com/office/drawing/2014/main" id="{5C2CA3DC-C3D3-4BD1-95AB-0E774916DB8B}"/>
                </a:ext>
              </a:extLst>
            </p:cNvPr>
            <p:cNvPicPr>
              <a:picLocks noChangeAspect="1"/>
            </p:cNvPicPr>
            <p:nvPr/>
          </p:nvPicPr>
          <p:blipFill>
            <a:blip r:embed="rId6"/>
            <a:stretch>
              <a:fillRect/>
            </a:stretch>
          </p:blipFill>
          <p:spPr>
            <a:xfrm>
              <a:off x="10990848" y="4034498"/>
              <a:ext cx="457195" cy="457195"/>
            </a:xfrm>
            <a:prstGeom prst="rect">
              <a:avLst/>
            </a:prstGeom>
          </p:spPr>
        </p:pic>
        <p:pic>
          <p:nvPicPr>
            <p:cNvPr id="19" name="Picture 18">
              <a:extLst>
                <a:ext uri="{FF2B5EF4-FFF2-40B4-BE49-F238E27FC236}">
                  <a16:creationId xmlns:a16="http://schemas.microsoft.com/office/drawing/2014/main" id="{68C2207F-69CA-4776-B091-6FB9B3E68328}"/>
                </a:ext>
              </a:extLst>
            </p:cNvPr>
            <p:cNvPicPr>
              <a:picLocks noChangeAspect="1"/>
            </p:cNvPicPr>
            <p:nvPr/>
          </p:nvPicPr>
          <p:blipFill>
            <a:blip r:embed="rId7"/>
            <a:stretch>
              <a:fillRect/>
            </a:stretch>
          </p:blipFill>
          <p:spPr>
            <a:xfrm>
              <a:off x="10232984" y="4034498"/>
              <a:ext cx="457195" cy="457195"/>
            </a:xfrm>
            <a:prstGeom prst="rect">
              <a:avLst/>
            </a:prstGeom>
          </p:spPr>
        </p:pic>
        <p:pic>
          <p:nvPicPr>
            <p:cNvPr id="21" name="Picture 20">
              <a:extLst>
                <a:ext uri="{FF2B5EF4-FFF2-40B4-BE49-F238E27FC236}">
                  <a16:creationId xmlns:a16="http://schemas.microsoft.com/office/drawing/2014/main" id="{79EFF851-F06E-4DC3-89ED-D28F83E53A06}"/>
                </a:ext>
              </a:extLst>
            </p:cNvPr>
            <p:cNvPicPr>
              <a:picLocks noChangeAspect="1"/>
            </p:cNvPicPr>
            <p:nvPr/>
          </p:nvPicPr>
          <p:blipFill>
            <a:blip r:embed="rId8"/>
            <a:stretch>
              <a:fillRect/>
            </a:stretch>
          </p:blipFill>
          <p:spPr>
            <a:xfrm>
              <a:off x="9475120" y="4034498"/>
              <a:ext cx="457195" cy="457195"/>
            </a:xfrm>
            <a:prstGeom prst="rect">
              <a:avLst/>
            </a:prstGeom>
          </p:spPr>
        </p:pic>
        <p:pic>
          <p:nvPicPr>
            <p:cNvPr id="23" name="Picture 22">
              <a:extLst>
                <a:ext uri="{FF2B5EF4-FFF2-40B4-BE49-F238E27FC236}">
                  <a16:creationId xmlns:a16="http://schemas.microsoft.com/office/drawing/2014/main" id="{030B9565-47A3-4A64-AD37-79EF66B5EB3C}"/>
                </a:ext>
              </a:extLst>
            </p:cNvPr>
            <p:cNvPicPr>
              <a:picLocks noChangeAspect="1"/>
            </p:cNvPicPr>
            <p:nvPr/>
          </p:nvPicPr>
          <p:blipFill>
            <a:blip r:embed="rId9"/>
            <a:stretch>
              <a:fillRect/>
            </a:stretch>
          </p:blipFill>
          <p:spPr>
            <a:xfrm>
              <a:off x="8717256" y="4034498"/>
              <a:ext cx="457195" cy="457195"/>
            </a:xfrm>
            <a:prstGeom prst="rect">
              <a:avLst/>
            </a:prstGeom>
          </p:spPr>
        </p:pic>
        <p:pic>
          <p:nvPicPr>
            <p:cNvPr id="25" name="Picture 24">
              <a:extLst>
                <a:ext uri="{FF2B5EF4-FFF2-40B4-BE49-F238E27FC236}">
                  <a16:creationId xmlns:a16="http://schemas.microsoft.com/office/drawing/2014/main" id="{2B30FA75-4459-49DE-BB32-17A1DD924117}"/>
                </a:ext>
              </a:extLst>
            </p:cNvPr>
            <p:cNvPicPr>
              <a:picLocks noChangeAspect="1"/>
            </p:cNvPicPr>
            <p:nvPr/>
          </p:nvPicPr>
          <p:blipFill>
            <a:blip r:embed="rId10"/>
            <a:stretch>
              <a:fillRect/>
            </a:stretch>
          </p:blipFill>
          <p:spPr>
            <a:xfrm>
              <a:off x="7959392" y="4034498"/>
              <a:ext cx="457195" cy="457195"/>
            </a:xfrm>
            <a:prstGeom prst="rect">
              <a:avLst/>
            </a:prstGeom>
          </p:spPr>
        </p:pic>
        <p:pic>
          <p:nvPicPr>
            <p:cNvPr id="27" name="Picture 26">
              <a:extLst>
                <a:ext uri="{FF2B5EF4-FFF2-40B4-BE49-F238E27FC236}">
                  <a16:creationId xmlns:a16="http://schemas.microsoft.com/office/drawing/2014/main" id="{DD6C9A9A-13CA-4CBB-A804-B6CFACC2BF73}"/>
                </a:ext>
              </a:extLst>
            </p:cNvPr>
            <p:cNvPicPr>
              <a:picLocks noChangeAspect="1"/>
            </p:cNvPicPr>
            <p:nvPr/>
          </p:nvPicPr>
          <p:blipFill>
            <a:blip r:embed="rId11"/>
            <a:stretch>
              <a:fillRect/>
            </a:stretch>
          </p:blipFill>
          <p:spPr>
            <a:xfrm>
              <a:off x="9485455" y="5415579"/>
              <a:ext cx="457195" cy="457195"/>
            </a:xfrm>
            <a:prstGeom prst="rect">
              <a:avLst/>
            </a:prstGeom>
          </p:spPr>
        </p:pic>
        <p:pic>
          <p:nvPicPr>
            <p:cNvPr id="29" name="Picture 28">
              <a:extLst>
                <a:ext uri="{FF2B5EF4-FFF2-40B4-BE49-F238E27FC236}">
                  <a16:creationId xmlns:a16="http://schemas.microsoft.com/office/drawing/2014/main" id="{7093CD2C-83E5-44CE-B174-9311F23ADC82}"/>
                </a:ext>
              </a:extLst>
            </p:cNvPr>
            <p:cNvPicPr>
              <a:picLocks noChangeAspect="1"/>
            </p:cNvPicPr>
            <p:nvPr/>
          </p:nvPicPr>
          <p:blipFill>
            <a:blip r:embed="rId12"/>
            <a:stretch>
              <a:fillRect/>
            </a:stretch>
          </p:blipFill>
          <p:spPr>
            <a:xfrm>
              <a:off x="10988486" y="5487382"/>
              <a:ext cx="457195" cy="457195"/>
            </a:xfrm>
            <a:prstGeom prst="rect">
              <a:avLst/>
            </a:prstGeom>
          </p:spPr>
        </p:pic>
        <p:pic>
          <p:nvPicPr>
            <p:cNvPr id="31" name="Picture 30">
              <a:extLst>
                <a:ext uri="{FF2B5EF4-FFF2-40B4-BE49-F238E27FC236}">
                  <a16:creationId xmlns:a16="http://schemas.microsoft.com/office/drawing/2014/main" id="{E3430AD2-08DE-4261-A4A6-F3463E66B837}"/>
                </a:ext>
              </a:extLst>
            </p:cNvPr>
            <p:cNvPicPr>
              <a:picLocks noChangeAspect="1"/>
            </p:cNvPicPr>
            <p:nvPr/>
          </p:nvPicPr>
          <p:blipFill>
            <a:blip r:embed="rId13"/>
            <a:stretch>
              <a:fillRect/>
            </a:stretch>
          </p:blipFill>
          <p:spPr>
            <a:xfrm>
              <a:off x="10228262" y="5487382"/>
              <a:ext cx="457195" cy="457195"/>
            </a:xfrm>
            <a:prstGeom prst="rect">
              <a:avLst/>
            </a:prstGeom>
          </p:spPr>
        </p:pic>
        <p:pic>
          <p:nvPicPr>
            <p:cNvPr id="33" name="Picture 32">
              <a:extLst>
                <a:ext uri="{FF2B5EF4-FFF2-40B4-BE49-F238E27FC236}">
                  <a16:creationId xmlns:a16="http://schemas.microsoft.com/office/drawing/2014/main" id="{A6A4E037-AA7F-42AC-8C6E-C5B7A10D023A}"/>
                </a:ext>
              </a:extLst>
            </p:cNvPr>
            <p:cNvPicPr>
              <a:picLocks noChangeAspect="1"/>
            </p:cNvPicPr>
            <p:nvPr/>
          </p:nvPicPr>
          <p:blipFill>
            <a:blip r:embed="rId14"/>
            <a:stretch>
              <a:fillRect/>
            </a:stretch>
          </p:blipFill>
          <p:spPr>
            <a:xfrm>
              <a:off x="10977695" y="3284489"/>
              <a:ext cx="457195" cy="457195"/>
            </a:xfrm>
            <a:prstGeom prst="rect">
              <a:avLst/>
            </a:prstGeom>
          </p:spPr>
        </p:pic>
        <p:pic>
          <p:nvPicPr>
            <p:cNvPr id="35" name="Picture 34">
              <a:extLst>
                <a:ext uri="{FF2B5EF4-FFF2-40B4-BE49-F238E27FC236}">
                  <a16:creationId xmlns:a16="http://schemas.microsoft.com/office/drawing/2014/main" id="{58CB8650-0D56-4457-850C-B491DB9EF75D}"/>
                </a:ext>
              </a:extLst>
            </p:cNvPr>
            <p:cNvPicPr>
              <a:picLocks noChangeAspect="1"/>
            </p:cNvPicPr>
            <p:nvPr/>
          </p:nvPicPr>
          <p:blipFill>
            <a:blip r:embed="rId15"/>
            <a:stretch>
              <a:fillRect/>
            </a:stretch>
          </p:blipFill>
          <p:spPr>
            <a:xfrm>
              <a:off x="10886668" y="2491433"/>
              <a:ext cx="457195" cy="457195"/>
            </a:xfrm>
            <a:prstGeom prst="rect">
              <a:avLst/>
            </a:prstGeom>
          </p:spPr>
        </p:pic>
        <p:pic>
          <p:nvPicPr>
            <p:cNvPr id="37" name="Picture 36">
              <a:extLst>
                <a:ext uri="{FF2B5EF4-FFF2-40B4-BE49-F238E27FC236}">
                  <a16:creationId xmlns:a16="http://schemas.microsoft.com/office/drawing/2014/main" id="{25297B2E-D421-4835-8198-33350E947CA5}"/>
                </a:ext>
              </a:extLst>
            </p:cNvPr>
            <p:cNvPicPr>
              <a:picLocks noChangeAspect="1"/>
            </p:cNvPicPr>
            <p:nvPr/>
          </p:nvPicPr>
          <p:blipFill>
            <a:blip r:embed="rId16"/>
            <a:stretch>
              <a:fillRect/>
            </a:stretch>
          </p:blipFill>
          <p:spPr>
            <a:xfrm>
              <a:off x="10134276" y="2491433"/>
              <a:ext cx="457195" cy="457195"/>
            </a:xfrm>
            <a:prstGeom prst="rect">
              <a:avLst/>
            </a:prstGeom>
          </p:spPr>
        </p:pic>
        <p:pic>
          <p:nvPicPr>
            <p:cNvPr id="39" name="Picture 38">
              <a:extLst>
                <a:ext uri="{FF2B5EF4-FFF2-40B4-BE49-F238E27FC236}">
                  <a16:creationId xmlns:a16="http://schemas.microsoft.com/office/drawing/2014/main" id="{AAC6631B-92AF-42A3-A4D3-283D46528AF6}"/>
                </a:ext>
              </a:extLst>
            </p:cNvPr>
            <p:cNvPicPr>
              <a:picLocks noChangeAspect="1"/>
            </p:cNvPicPr>
            <p:nvPr/>
          </p:nvPicPr>
          <p:blipFill>
            <a:blip r:embed="rId17"/>
            <a:stretch>
              <a:fillRect/>
            </a:stretch>
          </p:blipFill>
          <p:spPr>
            <a:xfrm>
              <a:off x="9381884" y="2491433"/>
              <a:ext cx="457195" cy="457195"/>
            </a:xfrm>
            <a:prstGeom prst="rect">
              <a:avLst/>
            </a:prstGeom>
          </p:spPr>
        </p:pic>
        <p:pic>
          <p:nvPicPr>
            <p:cNvPr id="41" name="Picture 40">
              <a:extLst>
                <a:ext uri="{FF2B5EF4-FFF2-40B4-BE49-F238E27FC236}">
                  <a16:creationId xmlns:a16="http://schemas.microsoft.com/office/drawing/2014/main" id="{C96DF1B3-E07A-4320-8DC0-261C11391A5C}"/>
                </a:ext>
              </a:extLst>
            </p:cNvPr>
            <p:cNvPicPr>
              <a:picLocks noChangeAspect="1"/>
            </p:cNvPicPr>
            <p:nvPr/>
          </p:nvPicPr>
          <p:blipFill>
            <a:blip r:embed="rId18"/>
            <a:stretch>
              <a:fillRect/>
            </a:stretch>
          </p:blipFill>
          <p:spPr>
            <a:xfrm>
              <a:off x="3362748" y="2491433"/>
              <a:ext cx="457195" cy="457195"/>
            </a:xfrm>
            <a:prstGeom prst="rect">
              <a:avLst/>
            </a:prstGeom>
          </p:spPr>
        </p:pic>
        <p:pic>
          <p:nvPicPr>
            <p:cNvPr id="43" name="Picture 42">
              <a:extLst>
                <a:ext uri="{FF2B5EF4-FFF2-40B4-BE49-F238E27FC236}">
                  <a16:creationId xmlns:a16="http://schemas.microsoft.com/office/drawing/2014/main" id="{94ED2B3A-16BE-41C9-B8C1-090EC7B76DFA}"/>
                </a:ext>
              </a:extLst>
            </p:cNvPr>
            <p:cNvPicPr>
              <a:picLocks noChangeAspect="1"/>
            </p:cNvPicPr>
            <p:nvPr/>
          </p:nvPicPr>
          <p:blipFill>
            <a:blip r:embed="rId19"/>
            <a:stretch>
              <a:fillRect/>
            </a:stretch>
          </p:blipFill>
          <p:spPr>
            <a:xfrm>
              <a:off x="4143149" y="3284489"/>
              <a:ext cx="457195" cy="457195"/>
            </a:xfrm>
            <a:prstGeom prst="rect">
              <a:avLst/>
            </a:prstGeom>
          </p:spPr>
        </p:pic>
        <p:pic>
          <p:nvPicPr>
            <p:cNvPr id="45" name="Picture 44">
              <a:extLst>
                <a:ext uri="{FF2B5EF4-FFF2-40B4-BE49-F238E27FC236}">
                  <a16:creationId xmlns:a16="http://schemas.microsoft.com/office/drawing/2014/main" id="{F8C0836F-CFEE-437D-915B-A6A25730F281}"/>
                </a:ext>
              </a:extLst>
            </p:cNvPr>
            <p:cNvPicPr>
              <a:picLocks noChangeAspect="1"/>
            </p:cNvPicPr>
            <p:nvPr/>
          </p:nvPicPr>
          <p:blipFill>
            <a:blip r:embed="rId20"/>
            <a:stretch>
              <a:fillRect/>
            </a:stretch>
          </p:blipFill>
          <p:spPr>
            <a:xfrm>
              <a:off x="1857964" y="2491433"/>
              <a:ext cx="457195" cy="457195"/>
            </a:xfrm>
            <a:prstGeom prst="rect">
              <a:avLst/>
            </a:prstGeom>
          </p:spPr>
        </p:pic>
        <p:pic>
          <p:nvPicPr>
            <p:cNvPr id="47" name="Picture 46">
              <a:extLst>
                <a:ext uri="{FF2B5EF4-FFF2-40B4-BE49-F238E27FC236}">
                  <a16:creationId xmlns:a16="http://schemas.microsoft.com/office/drawing/2014/main" id="{C031F2C8-0F1B-44AB-AEAF-963AED7795DD}"/>
                </a:ext>
              </a:extLst>
            </p:cNvPr>
            <p:cNvPicPr>
              <a:picLocks noChangeAspect="1"/>
            </p:cNvPicPr>
            <p:nvPr/>
          </p:nvPicPr>
          <p:blipFill>
            <a:blip r:embed="rId21"/>
            <a:stretch>
              <a:fillRect/>
            </a:stretch>
          </p:blipFill>
          <p:spPr>
            <a:xfrm>
              <a:off x="1105572" y="2491433"/>
              <a:ext cx="457195" cy="457195"/>
            </a:xfrm>
            <a:prstGeom prst="rect">
              <a:avLst/>
            </a:prstGeom>
          </p:spPr>
        </p:pic>
        <p:pic>
          <p:nvPicPr>
            <p:cNvPr id="49" name="Picture 48">
              <a:extLst>
                <a:ext uri="{FF2B5EF4-FFF2-40B4-BE49-F238E27FC236}">
                  <a16:creationId xmlns:a16="http://schemas.microsoft.com/office/drawing/2014/main" id="{E8E86897-BDAF-417E-831A-33DA4EEF6F66}"/>
                </a:ext>
              </a:extLst>
            </p:cNvPr>
            <p:cNvPicPr>
              <a:picLocks noChangeAspect="1"/>
            </p:cNvPicPr>
            <p:nvPr/>
          </p:nvPicPr>
          <p:blipFill>
            <a:blip r:embed="rId22"/>
            <a:stretch>
              <a:fillRect/>
            </a:stretch>
          </p:blipFill>
          <p:spPr>
            <a:xfrm>
              <a:off x="10218301" y="3284489"/>
              <a:ext cx="457195" cy="457195"/>
            </a:xfrm>
            <a:prstGeom prst="rect">
              <a:avLst/>
            </a:prstGeom>
          </p:spPr>
        </p:pic>
        <p:pic>
          <p:nvPicPr>
            <p:cNvPr id="51" name="Picture 50">
              <a:extLst>
                <a:ext uri="{FF2B5EF4-FFF2-40B4-BE49-F238E27FC236}">
                  <a16:creationId xmlns:a16="http://schemas.microsoft.com/office/drawing/2014/main" id="{AF379925-D7DA-4FED-BE53-2DC65F9D9AF1}"/>
                </a:ext>
              </a:extLst>
            </p:cNvPr>
            <p:cNvPicPr>
              <a:picLocks noChangeAspect="1"/>
            </p:cNvPicPr>
            <p:nvPr/>
          </p:nvPicPr>
          <p:blipFill>
            <a:blip r:embed="rId23"/>
            <a:stretch>
              <a:fillRect/>
            </a:stretch>
          </p:blipFill>
          <p:spPr>
            <a:xfrm>
              <a:off x="9458907" y="3284489"/>
              <a:ext cx="457195" cy="457195"/>
            </a:xfrm>
            <a:prstGeom prst="rect">
              <a:avLst/>
            </a:prstGeom>
          </p:spPr>
        </p:pic>
        <p:pic>
          <p:nvPicPr>
            <p:cNvPr id="53" name="Picture 52">
              <a:extLst>
                <a:ext uri="{FF2B5EF4-FFF2-40B4-BE49-F238E27FC236}">
                  <a16:creationId xmlns:a16="http://schemas.microsoft.com/office/drawing/2014/main" id="{32358342-646B-49BB-8EA1-D3778CA4EE06}"/>
                </a:ext>
              </a:extLst>
            </p:cNvPr>
            <p:cNvPicPr>
              <a:picLocks noChangeAspect="1"/>
            </p:cNvPicPr>
            <p:nvPr/>
          </p:nvPicPr>
          <p:blipFill>
            <a:blip r:embed="rId24"/>
            <a:stretch>
              <a:fillRect/>
            </a:stretch>
          </p:blipFill>
          <p:spPr>
            <a:xfrm>
              <a:off x="8699513" y="3284489"/>
              <a:ext cx="457195" cy="457195"/>
            </a:xfrm>
            <a:prstGeom prst="rect">
              <a:avLst/>
            </a:prstGeom>
          </p:spPr>
        </p:pic>
        <p:pic>
          <p:nvPicPr>
            <p:cNvPr id="55" name="Picture 54">
              <a:extLst>
                <a:ext uri="{FF2B5EF4-FFF2-40B4-BE49-F238E27FC236}">
                  <a16:creationId xmlns:a16="http://schemas.microsoft.com/office/drawing/2014/main" id="{493102C2-977C-4DD9-9C19-FD5E7D7377AD}"/>
                </a:ext>
              </a:extLst>
            </p:cNvPr>
            <p:cNvPicPr>
              <a:picLocks noChangeAspect="1"/>
            </p:cNvPicPr>
            <p:nvPr/>
          </p:nvPicPr>
          <p:blipFill>
            <a:blip r:embed="rId25"/>
            <a:stretch>
              <a:fillRect/>
            </a:stretch>
          </p:blipFill>
          <p:spPr>
            <a:xfrm>
              <a:off x="7940119" y="3284489"/>
              <a:ext cx="457195" cy="457195"/>
            </a:xfrm>
            <a:prstGeom prst="rect">
              <a:avLst/>
            </a:prstGeom>
          </p:spPr>
        </p:pic>
        <p:pic>
          <p:nvPicPr>
            <p:cNvPr id="57" name="Picture 56">
              <a:extLst>
                <a:ext uri="{FF2B5EF4-FFF2-40B4-BE49-F238E27FC236}">
                  <a16:creationId xmlns:a16="http://schemas.microsoft.com/office/drawing/2014/main" id="{111B3A20-3D26-4912-AB15-EAE0EDF048A7}"/>
                </a:ext>
              </a:extLst>
            </p:cNvPr>
            <p:cNvPicPr>
              <a:picLocks noChangeAspect="1"/>
            </p:cNvPicPr>
            <p:nvPr/>
          </p:nvPicPr>
          <p:blipFill>
            <a:blip r:embed="rId26"/>
            <a:stretch>
              <a:fillRect/>
            </a:stretch>
          </p:blipFill>
          <p:spPr>
            <a:xfrm>
              <a:off x="7180725" y="3284489"/>
              <a:ext cx="457195" cy="457195"/>
            </a:xfrm>
            <a:prstGeom prst="rect">
              <a:avLst/>
            </a:prstGeom>
          </p:spPr>
        </p:pic>
        <p:pic>
          <p:nvPicPr>
            <p:cNvPr id="59" name="Picture 58">
              <a:extLst>
                <a:ext uri="{FF2B5EF4-FFF2-40B4-BE49-F238E27FC236}">
                  <a16:creationId xmlns:a16="http://schemas.microsoft.com/office/drawing/2014/main" id="{6AFC82F0-FADA-4BAB-B49F-D08A73C3BE8D}"/>
                </a:ext>
              </a:extLst>
            </p:cNvPr>
            <p:cNvPicPr>
              <a:picLocks noChangeAspect="1"/>
            </p:cNvPicPr>
            <p:nvPr/>
          </p:nvPicPr>
          <p:blipFill>
            <a:blip r:embed="rId27"/>
            <a:stretch>
              <a:fillRect/>
            </a:stretch>
          </p:blipFill>
          <p:spPr>
            <a:xfrm>
              <a:off x="6421331" y="3284489"/>
              <a:ext cx="457195" cy="457195"/>
            </a:xfrm>
            <a:prstGeom prst="rect">
              <a:avLst/>
            </a:prstGeom>
          </p:spPr>
        </p:pic>
        <p:pic>
          <p:nvPicPr>
            <p:cNvPr id="61" name="Picture 60">
              <a:extLst>
                <a:ext uri="{FF2B5EF4-FFF2-40B4-BE49-F238E27FC236}">
                  <a16:creationId xmlns:a16="http://schemas.microsoft.com/office/drawing/2014/main" id="{731E9C35-4FAE-4CE1-AE3C-6E7E26CDED24}"/>
                </a:ext>
              </a:extLst>
            </p:cNvPr>
            <p:cNvPicPr>
              <a:picLocks noChangeAspect="1"/>
            </p:cNvPicPr>
            <p:nvPr/>
          </p:nvPicPr>
          <p:blipFill>
            <a:blip r:embed="rId28"/>
            <a:stretch>
              <a:fillRect/>
            </a:stretch>
          </p:blipFill>
          <p:spPr>
            <a:xfrm>
              <a:off x="4902543" y="3284489"/>
              <a:ext cx="457195" cy="457195"/>
            </a:xfrm>
            <a:prstGeom prst="rect">
              <a:avLst/>
            </a:prstGeom>
          </p:spPr>
        </p:pic>
        <p:pic>
          <p:nvPicPr>
            <p:cNvPr id="63" name="Picture 62">
              <a:extLst>
                <a:ext uri="{FF2B5EF4-FFF2-40B4-BE49-F238E27FC236}">
                  <a16:creationId xmlns:a16="http://schemas.microsoft.com/office/drawing/2014/main" id="{140A929E-6A9F-4B40-93CA-94261E53F5C6}"/>
                </a:ext>
              </a:extLst>
            </p:cNvPr>
            <p:cNvPicPr>
              <a:picLocks noChangeAspect="1"/>
            </p:cNvPicPr>
            <p:nvPr/>
          </p:nvPicPr>
          <p:blipFill>
            <a:blip r:embed="rId29"/>
            <a:stretch>
              <a:fillRect/>
            </a:stretch>
          </p:blipFill>
          <p:spPr>
            <a:xfrm>
              <a:off x="5661937" y="3284489"/>
              <a:ext cx="457195" cy="457195"/>
            </a:xfrm>
            <a:prstGeom prst="rect">
              <a:avLst/>
            </a:prstGeom>
          </p:spPr>
        </p:pic>
        <p:pic>
          <p:nvPicPr>
            <p:cNvPr id="65" name="Picture 64">
              <a:extLst>
                <a:ext uri="{FF2B5EF4-FFF2-40B4-BE49-F238E27FC236}">
                  <a16:creationId xmlns:a16="http://schemas.microsoft.com/office/drawing/2014/main" id="{A7327E2D-DF40-4EEB-B56E-0BA5FC8C13D9}"/>
                </a:ext>
              </a:extLst>
            </p:cNvPr>
            <p:cNvPicPr>
              <a:picLocks noChangeAspect="1"/>
            </p:cNvPicPr>
            <p:nvPr/>
          </p:nvPicPr>
          <p:blipFill>
            <a:blip r:embed="rId30"/>
            <a:stretch>
              <a:fillRect/>
            </a:stretch>
          </p:blipFill>
          <p:spPr>
            <a:xfrm>
              <a:off x="3383755" y="3284489"/>
              <a:ext cx="457195" cy="457195"/>
            </a:xfrm>
            <a:prstGeom prst="rect">
              <a:avLst/>
            </a:prstGeom>
          </p:spPr>
        </p:pic>
        <p:pic>
          <p:nvPicPr>
            <p:cNvPr id="69" name="Picture 68">
              <a:extLst>
                <a:ext uri="{FF2B5EF4-FFF2-40B4-BE49-F238E27FC236}">
                  <a16:creationId xmlns:a16="http://schemas.microsoft.com/office/drawing/2014/main" id="{A5AFE6E3-9920-49A7-AD2B-8821099DDF7C}"/>
                </a:ext>
              </a:extLst>
            </p:cNvPr>
            <p:cNvPicPr>
              <a:picLocks noChangeAspect="1"/>
            </p:cNvPicPr>
            <p:nvPr/>
          </p:nvPicPr>
          <p:blipFill>
            <a:blip r:embed="rId31"/>
            <a:stretch>
              <a:fillRect/>
            </a:stretch>
          </p:blipFill>
          <p:spPr>
            <a:xfrm>
              <a:off x="2624361" y="3284489"/>
              <a:ext cx="457195" cy="457195"/>
            </a:xfrm>
            <a:prstGeom prst="rect">
              <a:avLst/>
            </a:prstGeom>
          </p:spPr>
        </p:pic>
        <p:pic>
          <p:nvPicPr>
            <p:cNvPr id="71" name="Picture 70">
              <a:extLst>
                <a:ext uri="{FF2B5EF4-FFF2-40B4-BE49-F238E27FC236}">
                  <a16:creationId xmlns:a16="http://schemas.microsoft.com/office/drawing/2014/main" id="{92F39366-9787-45CD-868B-2BF9E8CEE2A8}"/>
                </a:ext>
              </a:extLst>
            </p:cNvPr>
            <p:cNvPicPr>
              <a:picLocks noChangeAspect="1"/>
            </p:cNvPicPr>
            <p:nvPr/>
          </p:nvPicPr>
          <p:blipFill>
            <a:blip r:embed="rId32"/>
            <a:stretch>
              <a:fillRect/>
            </a:stretch>
          </p:blipFill>
          <p:spPr>
            <a:xfrm>
              <a:off x="1864967" y="3284489"/>
              <a:ext cx="457195" cy="457195"/>
            </a:xfrm>
            <a:prstGeom prst="rect">
              <a:avLst/>
            </a:prstGeom>
          </p:spPr>
        </p:pic>
        <p:pic>
          <p:nvPicPr>
            <p:cNvPr id="73" name="Picture 72">
              <a:extLst>
                <a:ext uri="{FF2B5EF4-FFF2-40B4-BE49-F238E27FC236}">
                  <a16:creationId xmlns:a16="http://schemas.microsoft.com/office/drawing/2014/main" id="{7323BB73-862C-466D-AB0B-255C545AD8AC}"/>
                </a:ext>
              </a:extLst>
            </p:cNvPr>
            <p:cNvPicPr>
              <a:picLocks noChangeAspect="1"/>
            </p:cNvPicPr>
            <p:nvPr/>
          </p:nvPicPr>
          <p:blipFill>
            <a:blip r:embed="rId33"/>
            <a:stretch>
              <a:fillRect/>
            </a:stretch>
          </p:blipFill>
          <p:spPr>
            <a:xfrm>
              <a:off x="1105573" y="3284489"/>
              <a:ext cx="457195" cy="457195"/>
            </a:xfrm>
            <a:prstGeom prst="rect">
              <a:avLst/>
            </a:prstGeom>
          </p:spPr>
        </p:pic>
        <p:pic>
          <p:nvPicPr>
            <p:cNvPr id="83" name="Picture 82">
              <a:extLst>
                <a:ext uri="{FF2B5EF4-FFF2-40B4-BE49-F238E27FC236}">
                  <a16:creationId xmlns:a16="http://schemas.microsoft.com/office/drawing/2014/main" id="{272ED2A1-9E6F-4DD9-8A73-42CCC55C2F68}"/>
                </a:ext>
              </a:extLst>
            </p:cNvPr>
            <p:cNvPicPr>
              <a:picLocks noChangeAspect="1"/>
            </p:cNvPicPr>
            <p:nvPr/>
          </p:nvPicPr>
          <p:blipFill>
            <a:blip r:embed="rId34"/>
            <a:stretch>
              <a:fillRect/>
            </a:stretch>
          </p:blipFill>
          <p:spPr>
            <a:xfrm>
              <a:off x="7201528" y="4034498"/>
              <a:ext cx="457195" cy="457195"/>
            </a:xfrm>
            <a:prstGeom prst="rect">
              <a:avLst/>
            </a:prstGeom>
          </p:spPr>
        </p:pic>
        <p:pic>
          <p:nvPicPr>
            <p:cNvPr id="85" name="Picture 84">
              <a:extLst>
                <a:ext uri="{FF2B5EF4-FFF2-40B4-BE49-F238E27FC236}">
                  <a16:creationId xmlns:a16="http://schemas.microsoft.com/office/drawing/2014/main" id="{19177D8D-C1E3-4B4E-B8E4-AFA0C7158DCB}"/>
                </a:ext>
              </a:extLst>
            </p:cNvPr>
            <p:cNvPicPr>
              <a:picLocks noChangeAspect="1"/>
            </p:cNvPicPr>
            <p:nvPr/>
          </p:nvPicPr>
          <p:blipFill>
            <a:blip r:embed="rId35"/>
            <a:stretch>
              <a:fillRect/>
            </a:stretch>
          </p:blipFill>
          <p:spPr>
            <a:xfrm>
              <a:off x="6443664" y="4034498"/>
              <a:ext cx="457195" cy="457195"/>
            </a:xfrm>
            <a:prstGeom prst="rect">
              <a:avLst/>
            </a:prstGeom>
          </p:spPr>
        </p:pic>
        <p:pic>
          <p:nvPicPr>
            <p:cNvPr id="87" name="Picture 86">
              <a:extLst>
                <a:ext uri="{FF2B5EF4-FFF2-40B4-BE49-F238E27FC236}">
                  <a16:creationId xmlns:a16="http://schemas.microsoft.com/office/drawing/2014/main" id="{32752E79-BCBE-4C5C-B16B-D86F33B7B01F}"/>
                </a:ext>
              </a:extLst>
            </p:cNvPr>
            <p:cNvPicPr>
              <a:picLocks noChangeAspect="1"/>
            </p:cNvPicPr>
            <p:nvPr/>
          </p:nvPicPr>
          <p:blipFill>
            <a:blip r:embed="rId36"/>
            <a:stretch>
              <a:fillRect/>
            </a:stretch>
          </p:blipFill>
          <p:spPr>
            <a:xfrm>
              <a:off x="7965187" y="4782586"/>
              <a:ext cx="457195" cy="457195"/>
            </a:xfrm>
            <a:prstGeom prst="rect">
              <a:avLst/>
            </a:prstGeom>
          </p:spPr>
        </p:pic>
        <p:pic>
          <p:nvPicPr>
            <p:cNvPr id="89" name="Picture 88">
              <a:extLst>
                <a:ext uri="{FF2B5EF4-FFF2-40B4-BE49-F238E27FC236}">
                  <a16:creationId xmlns:a16="http://schemas.microsoft.com/office/drawing/2014/main" id="{27BA3FF9-1743-4646-94BC-BAFEA863E443}"/>
                </a:ext>
              </a:extLst>
            </p:cNvPr>
            <p:cNvPicPr>
              <a:picLocks noChangeAspect="1"/>
            </p:cNvPicPr>
            <p:nvPr/>
          </p:nvPicPr>
          <p:blipFill>
            <a:blip r:embed="rId37"/>
            <a:stretch>
              <a:fillRect/>
            </a:stretch>
          </p:blipFill>
          <p:spPr>
            <a:xfrm>
              <a:off x="7205053" y="4782586"/>
              <a:ext cx="457195" cy="457195"/>
            </a:xfrm>
            <a:prstGeom prst="rect">
              <a:avLst/>
            </a:prstGeom>
          </p:spPr>
        </p:pic>
        <p:pic>
          <p:nvPicPr>
            <p:cNvPr id="91" name="Picture 90">
              <a:extLst>
                <a:ext uri="{FF2B5EF4-FFF2-40B4-BE49-F238E27FC236}">
                  <a16:creationId xmlns:a16="http://schemas.microsoft.com/office/drawing/2014/main" id="{716D0C3D-BE88-486A-8F93-36BC913F1EF5}"/>
                </a:ext>
              </a:extLst>
            </p:cNvPr>
            <p:cNvPicPr>
              <a:picLocks noChangeAspect="1"/>
            </p:cNvPicPr>
            <p:nvPr/>
          </p:nvPicPr>
          <p:blipFill>
            <a:blip r:embed="rId38"/>
            <a:stretch>
              <a:fillRect/>
            </a:stretch>
          </p:blipFill>
          <p:spPr>
            <a:xfrm>
              <a:off x="5685800" y="4034498"/>
              <a:ext cx="457195" cy="457195"/>
            </a:xfrm>
            <a:prstGeom prst="rect">
              <a:avLst/>
            </a:prstGeom>
          </p:spPr>
        </p:pic>
        <p:pic>
          <p:nvPicPr>
            <p:cNvPr id="93" name="Picture 92">
              <a:extLst>
                <a:ext uri="{FF2B5EF4-FFF2-40B4-BE49-F238E27FC236}">
                  <a16:creationId xmlns:a16="http://schemas.microsoft.com/office/drawing/2014/main" id="{0226109B-6276-4352-8909-D28DAAF4510D}"/>
                </a:ext>
              </a:extLst>
            </p:cNvPr>
            <p:cNvPicPr>
              <a:picLocks noChangeAspect="1"/>
            </p:cNvPicPr>
            <p:nvPr/>
          </p:nvPicPr>
          <p:blipFill>
            <a:blip r:embed="rId39"/>
            <a:stretch>
              <a:fillRect/>
            </a:stretch>
          </p:blipFill>
          <p:spPr>
            <a:xfrm>
              <a:off x="4927936" y="4034498"/>
              <a:ext cx="457195" cy="457195"/>
            </a:xfrm>
            <a:prstGeom prst="rect">
              <a:avLst/>
            </a:prstGeom>
          </p:spPr>
        </p:pic>
        <p:pic>
          <p:nvPicPr>
            <p:cNvPr id="95" name="Picture 94">
              <a:extLst>
                <a:ext uri="{FF2B5EF4-FFF2-40B4-BE49-F238E27FC236}">
                  <a16:creationId xmlns:a16="http://schemas.microsoft.com/office/drawing/2014/main" id="{313157DC-809E-470B-95B4-85309C0A9990}"/>
                </a:ext>
              </a:extLst>
            </p:cNvPr>
            <p:cNvPicPr>
              <a:picLocks noChangeAspect="1"/>
            </p:cNvPicPr>
            <p:nvPr/>
          </p:nvPicPr>
          <p:blipFill>
            <a:blip r:embed="rId40"/>
            <a:stretch>
              <a:fillRect/>
            </a:stretch>
          </p:blipFill>
          <p:spPr>
            <a:xfrm>
              <a:off x="4170072" y="4034498"/>
              <a:ext cx="457195" cy="457195"/>
            </a:xfrm>
            <a:prstGeom prst="rect">
              <a:avLst/>
            </a:prstGeom>
          </p:spPr>
        </p:pic>
        <p:pic>
          <p:nvPicPr>
            <p:cNvPr id="97" name="Picture 96">
              <a:extLst>
                <a:ext uri="{FF2B5EF4-FFF2-40B4-BE49-F238E27FC236}">
                  <a16:creationId xmlns:a16="http://schemas.microsoft.com/office/drawing/2014/main" id="{B0935D5C-F225-4979-A08E-C01FAA35C1A3}"/>
                </a:ext>
              </a:extLst>
            </p:cNvPr>
            <p:cNvPicPr>
              <a:picLocks noChangeAspect="1"/>
            </p:cNvPicPr>
            <p:nvPr/>
          </p:nvPicPr>
          <p:blipFill>
            <a:blip r:embed="rId41"/>
            <a:stretch>
              <a:fillRect/>
            </a:stretch>
          </p:blipFill>
          <p:spPr>
            <a:xfrm>
              <a:off x="3412208" y="4034498"/>
              <a:ext cx="457195" cy="457195"/>
            </a:xfrm>
            <a:prstGeom prst="rect">
              <a:avLst/>
            </a:prstGeom>
          </p:spPr>
        </p:pic>
        <p:pic>
          <p:nvPicPr>
            <p:cNvPr id="101" name="Picture 100">
              <a:extLst>
                <a:ext uri="{FF2B5EF4-FFF2-40B4-BE49-F238E27FC236}">
                  <a16:creationId xmlns:a16="http://schemas.microsoft.com/office/drawing/2014/main" id="{5E9E305F-5171-41FD-99C8-01B51CE23307}"/>
                </a:ext>
              </a:extLst>
            </p:cNvPr>
            <p:cNvPicPr>
              <a:picLocks noChangeAspect="1"/>
            </p:cNvPicPr>
            <p:nvPr/>
          </p:nvPicPr>
          <p:blipFill>
            <a:blip r:embed="rId42"/>
            <a:stretch>
              <a:fillRect/>
            </a:stretch>
          </p:blipFill>
          <p:spPr>
            <a:xfrm>
              <a:off x="2654344" y="4034498"/>
              <a:ext cx="457195" cy="457195"/>
            </a:xfrm>
            <a:prstGeom prst="rect">
              <a:avLst/>
            </a:prstGeom>
          </p:spPr>
        </p:pic>
        <p:pic>
          <p:nvPicPr>
            <p:cNvPr id="103" name="Picture 102">
              <a:extLst>
                <a:ext uri="{FF2B5EF4-FFF2-40B4-BE49-F238E27FC236}">
                  <a16:creationId xmlns:a16="http://schemas.microsoft.com/office/drawing/2014/main" id="{812704CE-AB9E-4E77-B15B-5849F4A96DEA}"/>
                </a:ext>
              </a:extLst>
            </p:cNvPr>
            <p:cNvPicPr>
              <a:picLocks noChangeAspect="1"/>
            </p:cNvPicPr>
            <p:nvPr/>
          </p:nvPicPr>
          <p:blipFill>
            <a:blip r:embed="rId43"/>
            <a:stretch>
              <a:fillRect/>
            </a:stretch>
          </p:blipFill>
          <p:spPr>
            <a:xfrm>
              <a:off x="1896480" y="4034498"/>
              <a:ext cx="457195" cy="457195"/>
            </a:xfrm>
            <a:prstGeom prst="rect">
              <a:avLst/>
            </a:prstGeom>
          </p:spPr>
        </p:pic>
        <p:pic>
          <p:nvPicPr>
            <p:cNvPr id="105" name="Picture 104">
              <a:extLst>
                <a:ext uri="{FF2B5EF4-FFF2-40B4-BE49-F238E27FC236}">
                  <a16:creationId xmlns:a16="http://schemas.microsoft.com/office/drawing/2014/main" id="{39505E03-D12D-43E2-B711-5A3EB94AB47A}"/>
                </a:ext>
              </a:extLst>
            </p:cNvPr>
            <p:cNvPicPr>
              <a:picLocks noChangeAspect="1"/>
            </p:cNvPicPr>
            <p:nvPr/>
          </p:nvPicPr>
          <p:blipFill>
            <a:blip r:embed="rId44"/>
            <a:stretch>
              <a:fillRect/>
            </a:stretch>
          </p:blipFill>
          <p:spPr>
            <a:xfrm>
              <a:off x="11005723" y="4782586"/>
              <a:ext cx="457195" cy="457195"/>
            </a:xfrm>
            <a:prstGeom prst="rect">
              <a:avLst/>
            </a:prstGeom>
          </p:spPr>
        </p:pic>
        <p:pic>
          <p:nvPicPr>
            <p:cNvPr id="107" name="Picture 106">
              <a:extLst>
                <a:ext uri="{FF2B5EF4-FFF2-40B4-BE49-F238E27FC236}">
                  <a16:creationId xmlns:a16="http://schemas.microsoft.com/office/drawing/2014/main" id="{9CEE014E-94E1-427B-A280-0A92FBC40C4D}"/>
                </a:ext>
              </a:extLst>
            </p:cNvPr>
            <p:cNvPicPr>
              <a:picLocks noChangeAspect="1"/>
            </p:cNvPicPr>
            <p:nvPr/>
          </p:nvPicPr>
          <p:blipFill>
            <a:blip r:embed="rId45"/>
            <a:stretch>
              <a:fillRect/>
            </a:stretch>
          </p:blipFill>
          <p:spPr>
            <a:xfrm>
              <a:off x="10245589" y="4782586"/>
              <a:ext cx="457195" cy="457195"/>
            </a:xfrm>
            <a:prstGeom prst="rect">
              <a:avLst/>
            </a:prstGeom>
          </p:spPr>
        </p:pic>
        <p:pic>
          <p:nvPicPr>
            <p:cNvPr id="109" name="Picture 108">
              <a:extLst>
                <a:ext uri="{FF2B5EF4-FFF2-40B4-BE49-F238E27FC236}">
                  <a16:creationId xmlns:a16="http://schemas.microsoft.com/office/drawing/2014/main" id="{99AEBADF-9C8F-476A-A41B-9A46D0D8F339}"/>
                </a:ext>
              </a:extLst>
            </p:cNvPr>
            <p:cNvPicPr>
              <a:picLocks noChangeAspect="1"/>
            </p:cNvPicPr>
            <p:nvPr/>
          </p:nvPicPr>
          <p:blipFill>
            <a:blip r:embed="rId46"/>
            <a:stretch>
              <a:fillRect/>
            </a:stretch>
          </p:blipFill>
          <p:spPr>
            <a:xfrm>
              <a:off x="9485455" y="4782586"/>
              <a:ext cx="457195" cy="457195"/>
            </a:xfrm>
            <a:prstGeom prst="rect">
              <a:avLst/>
            </a:prstGeom>
          </p:spPr>
        </p:pic>
        <p:pic>
          <p:nvPicPr>
            <p:cNvPr id="111" name="Picture 110">
              <a:extLst>
                <a:ext uri="{FF2B5EF4-FFF2-40B4-BE49-F238E27FC236}">
                  <a16:creationId xmlns:a16="http://schemas.microsoft.com/office/drawing/2014/main" id="{A410A292-FD38-4CF1-BB9E-E0199F9067C1}"/>
                </a:ext>
              </a:extLst>
            </p:cNvPr>
            <p:cNvPicPr>
              <a:picLocks noChangeAspect="1"/>
            </p:cNvPicPr>
            <p:nvPr/>
          </p:nvPicPr>
          <p:blipFill>
            <a:blip r:embed="rId47"/>
            <a:stretch>
              <a:fillRect/>
            </a:stretch>
          </p:blipFill>
          <p:spPr>
            <a:xfrm>
              <a:off x="8725321" y="4782586"/>
              <a:ext cx="457195" cy="457195"/>
            </a:xfrm>
            <a:prstGeom prst="rect">
              <a:avLst/>
            </a:prstGeom>
          </p:spPr>
        </p:pic>
        <p:pic>
          <p:nvPicPr>
            <p:cNvPr id="113" name="Picture 112">
              <a:extLst>
                <a:ext uri="{FF2B5EF4-FFF2-40B4-BE49-F238E27FC236}">
                  <a16:creationId xmlns:a16="http://schemas.microsoft.com/office/drawing/2014/main" id="{6550365D-F656-47E7-9270-56B1686D3BB1}"/>
                </a:ext>
              </a:extLst>
            </p:cNvPr>
            <p:cNvPicPr>
              <a:picLocks noChangeAspect="1"/>
            </p:cNvPicPr>
            <p:nvPr/>
          </p:nvPicPr>
          <p:blipFill>
            <a:blip r:embed="rId48"/>
            <a:stretch>
              <a:fillRect/>
            </a:stretch>
          </p:blipFill>
          <p:spPr>
            <a:xfrm>
              <a:off x="6444919" y="4782586"/>
              <a:ext cx="457195" cy="457195"/>
            </a:xfrm>
            <a:prstGeom prst="rect">
              <a:avLst/>
            </a:prstGeom>
          </p:spPr>
        </p:pic>
        <p:pic>
          <p:nvPicPr>
            <p:cNvPr id="115" name="Picture 114">
              <a:extLst>
                <a:ext uri="{FF2B5EF4-FFF2-40B4-BE49-F238E27FC236}">
                  <a16:creationId xmlns:a16="http://schemas.microsoft.com/office/drawing/2014/main" id="{674EC8F9-B45E-41FB-94A8-A7FA5BF480AE}"/>
                </a:ext>
              </a:extLst>
            </p:cNvPr>
            <p:cNvPicPr>
              <a:picLocks noChangeAspect="1"/>
            </p:cNvPicPr>
            <p:nvPr/>
          </p:nvPicPr>
          <p:blipFill>
            <a:blip r:embed="rId49"/>
            <a:stretch>
              <a:fillRect/>
            </a:stretch>
          </p:blipFill>
          <p:spPr>
            <a:xfrm>
              <a:off x="5684785" y="4782586"/>
              <a:ext cx="457195" cy="457195"/>
            </a:xfrm>
            <a:prstGeom prst="rect">
              <a:avLst/>
            </a:prstGeom>
          </p:spPr>
        </p:pic>
        <p:pic>
          <p:nvPicPr>
            <p:cNvPr id="117" name="Picture 116">
              <a:extLst>
                <a:ext uri="{FF2B5EF4-FFF2-40B4-BE49-F238E27FC236}">
                  <a16:creationId xmlns:a16="http://schemas.microsoft.com/office/drawing/2014/main" id="{CB6CC137-EFAA-4D9E-BECA-BB9569965057}"/>
                </a:ext>
              </a:extLst>
            </p:cNvPr>
            <p:cNvPicPr>
              <a:picLocks noChangeAspect="1"/>
            </p:cNvPicPr>
            <p:nvPr/>
          </p:nvPicPr>
          <p:blipFill>
            <a:blip r:embed="rId50"/>
            <a:stretch>
              <a:fillRect/>
            </a:stretch>
          </p:blipFill>
          <p:spPr>
            <a:xfrm>
              <a:off x="4924651" y="4782586"/>
              <a:ext cx="457195" cy="457195"/>
            </a:xfrm>
            <a:prstGeom prst="rect">
              <a:avLst/>
            </a:prstGeom>
          </p:spPr>
        </p:pic>
        <p:pic>
          <p:nvPicPr>
            <p:cNvPr id="119" name="Picture 118">
              <a:extLst>
                <a:ext uri="{FF2B5EF4-FFF2-40B4-BE49-F238E27FC236}">
                  <a16:creationId xmlns:a16="http://schemas.microsoft.com/office/drawing/2014/main" id="{1B20E329-D972-4098-9207-DEB8B69EE3A4}"/>
                </a:ext>
              </a:extLst>
            </p:cNvPr>
            <p:cNvPicPr>
              <a:picLocks noChangeAspect="1"/>
            </p:cNvPicPr>
            <p:nvPr/>
          </p:nvPicPr>
          <p:blipFill>
            <a:blip r:embed="rId51"/>
            <a:stretch>
              <a:fillRect/>
            </a:stretch>
          </p:blipFill>
          <p:spPr>
            <a:xfrm>
              <a:off x="4164517" y="4782586"/>
              <a:ext cx="457195" cy="457195"/>
            </a:xfrm>
            <a:prstGeom prst="rect">
              <a:avLst/>
            </a:prstGeom>
          </p:spPr>
        </p:pic>
        <p:pic>
          <p:nvPicPr>
            <p:cNvPr id="121" name="Picture 120">
              <a:extLst>
                <a:ext uri="{FF2B5EF4-FFF2-40B4-BE49-F238E27FC236}">
                  <a16:creationId xmlns:a16="http://schemas.microsoft.com/office/drawing/2014/main" id="{2AEE2476-E9AD-4E9E-9294-2BF71CEEC24D}"/>
                </a:ext>
              </a:extLst>
            </p:cNvPr>
            <p:cNvPicPr>
              <a:picLocks noChangeAspect="1"/>
            </p:cNvPicPr>
            <p:nvPr/>
          </p:nvPicPr>
          <p:blipFill>
            <a:blip r:embed="rId52"/>
            <a:stretch>
              <a:fillRect/>
            </a:stretch>
          </p:blipFill>
          <p:spPr>
            <a:xfrm>
              <a:off x="3404383" y="4782586"/>
              <a:ext cx="457195" cy="457195"/>
            </a:xfrm>
            <a:prstGeom prst="rect">
              <a:avLst/>
            </a:prstGeom>
          </p:spPr>
        </p:pic>
        <p:pic>
          <p:nvPicPr>
            <p:cNvPr id="123" name="Picture 122">
              <a:extLst>
                <a:ext uri="{FF2B5EF4-FFF2-40B4-BE49-F238E27FC236}">
                  <a16:creationId xmlns:a16="http://schemas.microsoft.com/office/drawing/2014/main" id="{5A413DFF-B68C-4BAE-8BF6-7450EF4DB154}"/>
                </a:ext>
              </a:extLst>
            </p:cNvPr>
            <p:cNvPicPr>
              <a:picLocks noChangeAspect="1"/>
            </p:cNvPicPr>
            <p:nvPr/>
          </p:nvPicPr>
          <p:blipFill>
            <a:blip r:embed="rId53"/>
            <a:stretch>
              <a:fillRect/>
            </a:stretch>
          </p:blipFill>
          <p:spPr>
            <a:xfrm>
              <a:off x="2644249" y="4782586"/>
              <a:ext cx="457195" cy="457195"/>
            </a:xfrm>
            <a:prstGeom prst="rect">
              <a:avLst/>
            </a:prstGeom>
          </p:spPr>
        </p:pic>
        <p:pic>
          <p:nvPicPr>
            <p:cNvPr id="129" name="Picture 128">
              <a:extLst>
                <a:ext uri="{FF2B5EF4-FFF2-40B4-BE49-F238E27FC236}">
                  <a16:creationId xmlns:a16="http://schemas.microsoft.com/office/drawing/2014/main" id="{D895E7F9-875D-4723-822E-A53BDC734D1C}"/>
                </a:ext>
              </a:extLst>
            </p:cNvPr>
            <p:cNvPicPr>
              <a:picLocks noChangeAspect="1"/>
            </p:cNvPicPr>
            <p:nvPr/>
          </p:nvPicPr>
          <p:blipFill>
            <a:blip r:embed="rId54"/>
            <a:stretch>
              <a:fillRect/>
            </a:stretch>
          </p:blipFill>
          <p:spPr>
            <a:xfrm>
              <a:off x="8629492" y="2491433"/>
              <a:ext cx="457195" cy="457195"/>
            </a:xfrm>
            <a:prstGeom prst="rect">
              <a:avLst/>
            </a:prstGeom>
          </p:spPr>
        </p:pic>
        <p:pic>
          <p:nvPicPr>
            <p:cNvPr id="133" name="Picture 132">
              <a:extLst>
                <a:ext uri="{FF2B5EF4-FFF2-40B4-BE49-F238E27FC236}">
                  <a16:creationId xmlns:a16="http://schemas.microsoft.com/office/drawing/2014/main" id="{EA4ADA73-D92A-4F80-8C53-4BB2B502AC8F}"/>
                </a:ext>
              </a:extLst>
            </p:cNvPr>
            <p:cNvPicPr>
              <a:picLocks noChangeAspect="1"/>
            </p:cNvPicPr>
            <p:nvPr/>
          </p:nvPicPr>
          <p:blipFill>
            <a:blip r:embed="rId55"/>
            <a:stretch>
              <a:fillRect/>
            </a:stretch>
          </p:blipFill>
          <p:spPr>
            <a:xfrm>
              <a:off x="1884115" y="4782586"/>
              <a:ext cx="457195" cy="457195"/>
            </a:xfrm>
            <a:prstGeom prst="rect">
              <a:avLst/>
            </a:prstGeom>
          </p:spPr>
        </p:pic>
        <p:pic>
          <p:nvPicPr>
            <p:cNvPr id="135" name="Picture 134">
              <a:extLst>
                <a:ext uri="{FF2B5EF4-FFF2-40B4-BE49-F238E27FC236}">
                  <a16:creationId xmlns:a16="http://schemas.microsoft.com/office/drawing/2014/main" id="{2B53699C-A40E-466B-9EAB-3A93C6DF83BB}"/>
                </a:ext>
              </a:extLst>
            </p:cNvPr>
            <p:cNvPicPr>
              <a:picLocks noChangeAspect="1"/>
            </p:cNvPicPr>
            <p:nvPr/>
          </p:nvPicPr>
          <p:blipFill>
            <a:blip r:embed="rId56"/>
            <a:stretch>
              <a:fillRect/>
            </a:stretch>
          </p:blipFill>
          <p:spPr>
            <a:xfrm>
              <a:off x="1123981" y="4782586"/>
              <a:ext cx="457195" cy="457195"/>
            </a:xfrm>
            <a:prstGeom prst="rect">
              <a:avLst/>
            </a:prstGeom>
          </p:spPr>
        </p:pic>
        <p:pic>
          <p:nvPicPr>
            <p:cNvPr id="137" name="Picture 136">
              <a:extLst>
                <a:ext uri="{FF2B5EF4-FFF2-40B4-BE49-F238E27FC236}">
                  <a16:creationId xmlns:a16="http://schemas.microsoft.com/office/drawing/2014/main" id="{269980ED-9953-49BE-A4FA-8936E79EB8C0}"/>
                </a:ext>
              </a:extLst>
            </p:cNvPr>
            <p:cNvPicPr>
              <a:picLocks noChangeAspect="1"/>
            </p:cNvPicPr>
            <p:nvPr/>
          </p:nvPicPr>
          <p:blipFill>
            <a:blip r:embed="rId57"/>
            <a:stretch>
              <a:fillRect/>
            </a:stretch>
          </p:blipFill>
          <p:spPr>
            <a:xfrm>
              <a:off x="1138616" y="4034498"/>
              <a:ext cx="457195" cy="457195"/>
            </a:xfrm>
            <a:prstGeom prst="rect">
              <a:avLst/>
            </a:prstGeom>
          </p:spPr>
        </p:pic>
        <p:pic>
          <p:nvPicPr>
            <p:cNvPr id="141" name="Picture 140">
              <a:extLst>
                <a:ext uri="{FF2B5EF4-FFF2-40B4-BE49-F238E27FC236}">
                  <a16:creationId xmlns:a16="http://schemas.microsoft.com/office/drawing/2014/main" id="{F0FA74AB-40B3-4D4C-87FD-2E971FAD8C86}"/>
                </a:ext>
              </a:extLst>
            </p:cNvPr>
            <p:cNvPicPr>
              <a:picLocks noChangeAspect="1"/>
            </p:cNvPicPr>
            <p:nvPr/>
          </p:nvPicPr>
          <p:blipFill>
            <a:blip r:embed="rId58"/>
            <a:stretch>
              <a:fillRect/>
            </a:stretch>
          </p:blipFill>
          <p:spPr>
            <a:xfrm>
              <a:off x="8707814" y="5487382"/>
              <a:ext cx="457195" cy="457195"/>
            </a:xfrm>
            <a:prstGeom prst="rect">
              <a:avLst/>
            </a:prstGeom>
          </p:spPr>
        </p:pic>
        <p:pic>
          <p:nvPicPr>
            <p:cNvPr id="143" name="Picture 142">
              <a:extLst>
                <a:ext uri="{FF2B5EF4-FFF2-40B4-BE49-F238E27FC236}">
                  <a16:creationId xmlns:a16="http://schemas.microsoft.com/office/drawing/2014/main" id="{4D4E60EB-A1C7-4DE4-9555-8E3FC99AC0C2}"/>
                </a:ext>
              </a:extLst>
            </p:cNvPr>
            <p:cNvPicPr>
              <a:picLocks noChangeAspect="1"/>
            </p:cNvPicPr>
            <p:nvPr/>
          </p:nvPicPr>
          <p:blipFill>
            <a:blip r:embed="rId59"/>
            <a:stretch>
              <a:fillRect/>
            </a:stretch>
          </p:blipFill>
          <p:spPr>
            <a:xfrm>
              <a:off x="7947590" y="5487382"/>
              <a:ext cx="457195" cy="457195"/>
            </a:xfrm>
            <a:prstGeom prst="rect">
              <a:avLst/>
            </a:prstGeom>
          </p:spPr>
        </p:pic>
        <p:pic>
          <p:nvPicPr>
            <p:cNvPr id="145" name="Picture 144">
              <a:extLst>
                <a:ext uri="{FF2B5EF4-FFF2-40B4-BE49-F238E27FC236}">
                  <a16:creationId xmlns:a16="http://schemas.microsoft.com/office/drawing/2014/main" id="{C53362E9-43F3-4B01-AB91-D19AEFC3B2CE}"/>
                </a:ext>
              </a:extLst>
            </p:cNvPr>
            <p:cNvPicPr>
              <a:picLocks noChangeAspect="1"/>
            </p:cNvPicPr>
            <p:nvPr/>
          </p:nvPicPr>
          <p:blipFill>
            <a:blip r:embed="rId2"/>
            <a:stretch>
              <a:fillRect/>
            </a:stretch>
          </p:blipFill>
          <p:spPr>
            <a:xfrm>
              <a:off x="7187366" y="5487382"/>
              <a:ext cx="457195" cy="457195"/>
            </a:xfrm>
            <a:prstGeom prst="rect">
              <a:avLst/>
            </a:prstGeom>
          </p:spPr>
        </p:pic>
        <p:pic>
          <p:nvPicPr>
            <p:cNvPr id="147" name="Picture 146">
              <a:extLst>
                <a:ext uri="{FF2B5EF4-FFF2-40B4-BE49-F238E27FC236}">
                  <a16:creationId xmlns:a16="http://schemas.microsoft.com/office/drawing/2014/main" id="{0BDEA370-D1F6-4FCB-BC00-E358BDF2438F}"/>
                </a:ext>
              </a:extLst>
            </p:cNvPr>
            <p:cNvPicPr>
              <a:picLocks noChangeAspect="1"/>
            </p:cNvPicPr>
            <p:nvPr/>
          </p:nvPicPr>
          <p:blipFill>
            <a:blip r:embed="rId60"/>
            <a:stretch>
              <a:fillRect/>
            </a:stretch>
          </p:blipFill>
          <p:spPr>
            <a:xfrm>
              <a:off x="6427142" y="5487382"/>
              <a:ext cx="457195" cy="457195"/>
            </a:xfrm>
            <a:prstGeom prst="rect">
              <a:avLst/>
            </a:prstGeom>
          </p:spPr>
        </p:pic>
        <p:pic>
          <p:nvPicPr>
            <p:cNvPr id="149" name="Picture 148">
              <a:extLst>
                <a:ext uri="{FF2B5EF4-FFF2-40B4-BE49-F238E27FC236}">
                  <a16:creationId xmlns:a16="http://schemas.microsoft.com/office/drawing/2014/main" id="{65A47AD4-1D85-4E21-A721-9BA4594467E4}"/>
                </a:ext>
              </a:extLst>
            </p:cNvPr>
            <p:cNvPicPr>
              <a:picLocks noChangeAspect="1"/>
            </p:cNvPicPr>
            <p:nvPr/>
          </p:nvPicPr>
          <p:blipFill>
            <a:blip r:embed="rId61"/>
            <a:stretch>
              <a:fillRect/>
            </a:stretch>
          </p:blipFill>
          <p:spPr>
            <a:xfrm>
              <a:off x="5666918" y="5487382"/>
              <a:ext cx="457195" cy="457195"/>
            </a:xfrm>
            <a:prstGeom prst="rect">
              <a:avLst/>
            </a:prstGeom>
          </p:spPr>
        </p:pic>
        <p:pic>
          <p:nvPicPr>
            <p:cNvPr id="151" name="Picture 150">
              <a:extLst>
                <a:ext uri="{FF2B5EF4-FFF2-40B4-BE49-F238E27FC236}">
                  <a16:creationId xmlns:a16="http://schemas.microsoft.com/office/drawing/2014/main" id="{54B19091-41BF-4B7A-A45C-4C2D90050129}"/>
                </a:ext>
              </a:extLst>
            </p:cNvPr>
            <p:cNvPicPr>
              <a:picLocks noChangeAspect="1"/>
            </p:cNvPicPr>
            <p:nvPr/>
          </p:nvPicPr>
          <p:blipFill>
            <a:blip r:embed="rId62"/>
            <a:stretch>
              <a:fillRect/>
            </a:stretch>
          </p:blipFill>
          <p:spPr>
            <a:xfrm>
              <a:off x="4906694" y="5487382"/>
              <a:ext cx="457195" cy="457195"/>
            </a:xfrm>
            <a:prstGeom prst="rect">
              <a:avLst/>
            </a:prstGeom>
          </p:spPr>
        </p:pic>
        <p:pic>
          <p:nvPicPr>
            <p:cNvPr id="153" name="Picture 152">
              <a:extLst>
                <a:ext uri="{FF2B5EF4-FFF2-40B4-BE49-F238E27FC236}">
                  <a16:creationId xmlns:a16="http://schemas.microsoft.com/office/drawing/2014/main" id="{A30971AE-5904-461D-8AFB-804A020285D5}"/>
                </a:ext>
              </a:extLst>
            </p:cNvPr>
            <p:cNvPicPr>
              <a:picLocks noChangeAspect="1"/>
            </p:cNvPicPr>
            <p:nvPr/>
          </p:nvPicPr>
          <p:blipFill>
            <a:blip r:embed="rId63"/>
            <a:stretch>
              <a:fillRect/>
            </a:stretch>
          </p:blipFill>
          <p:spPr>
            <a:xfrm>
              <a:off x="4146470" y="5487382"/>
              <a:ext cx="457195" cy="457195"/>
            </a:xfrm>
            <a:prstGeom prst="rect">
              <a:avLst/>
            </a:prstGeom>
          </p:spPr>
        </p:pic>
        <p:pic>
          <p:nvPicPr>
            <p:cNvPr id="155" name="Picture 154">
              <a:extLst>
                <a:ext uri="{FF2B5EF4-FFF2-40B4-BE49-F238E27FC236}">
                  <a16:creationId xmlns:a16="http://schemas.microsoft.com/office/drawing/2014/main" id="{9C6DC548-4169-4536-8EE5-70F94D433F70}"/>
                </a:ext>
              </a:extLst>
            </p:cNvPr>
            <p:cNvPicPr>
              <a:picLocks noChangeAspect="1"/>
            </p:cNvPicPr>
            <p:nvPr/>
          </p:nvPicPr>
          <p:blipFill>
            <a:blip r:embed="rId64"/>
            <a:stretch>
              <a:fillRect/>
            </a:stretch>
          </p:blipFill>
          <p:spPr>
            <a:xfrm>
              <a:off x="3386246" y="5487382"/>
              <a:ext cx="457195" cy="457195"/>
            </a:xfrm>
            <a:prstGeom prst="rect">
              <a:avLst/>
            </a:prstGeom>
          </p:spPr>
        </p:pic>
        <p:pic>
          <p:nvPicPr>
            <p:cNvPr id="157" name="Picture 156">
              <a:extLst>
                <a:ext uri="{FF2B5EF4-FFF2-40B4-BE49-F238E27FC236}">
                  <a16:creationId xmlns:a16="http://schemas.microsoft.com/office/drawing/2014/main" id="{93383F66-A315-4E44-B5A1-004C8441F21B}"/>
                </a:ext>
              </a:extLst>
            </p:cNvPr>
            <p:cNvPicPr>
              <a:picLocks noChangeAspect="1"/>
            </p:cNvPicPr>
            <p:nvPr/>
          </p:nvPicPr>
          <p:blipFill>
            <a:blip r:embed="rId65"/>
            <a:stretch>
              <a:fillRect/>
            </a:stretch>
          </p:blipFill>
          <p:spPr>
            <a:xfrm>
              <a:off x="2626022" y="5487382"/>
              <a:ext cx="457195" cy="457195"/>
            </a:xfrm>
            <a:prstGeom prst="rect">
              <a:avLst/>
            </a:prstGeom>
          </p:spPr>
        </p:pic>
        <p:pic>
          <p:nvPicPr>
            <p:cNvPr id="159" name="Picture 158">
              <a:extLst>
                <a:ext uri="{FF2B5EF4-FFF2-40B4-BE49-F238E27FC236}">
                  <a16:creationId xmlns:a16="http://schemas.microsoft.com/office/drawing/2014/main" id="{7C5731B9-37DC-4B88-BEDE-970E11B9422F}"/>
                </a:ext>
              </a:extLst>
            </p:cNvPr>
            <p:cNvPicPr>
              <a:picLocks noChangeAspect="1"/>
            </p:cNvPicPr>
            <p:nvPr/>
          </p:nvPicPr>
          <p:blipFill>
            <a:blip r:embed="rId66"/>
            <a:stretch>
              <a:fillRect/>
            </a:stretch>
          </p:blipFill>
          <p:spPr>
            <a:xfrm>
              <a:off x="1865798" y="5487382"/>
              <a:ext cx="457195" cy="457195"/>
            </a:xfrm>
            <a:prstGeom prst="rect">
              <a:avLst/>
            </a:prstGeom>
          </p:spPr>
        </p:pic>
        <p:pic>
          <p:nvPicPr>
            <p:cNvPr id="161" name="Picture 160">
              <a:extLst>
                <a:ext uri="{FF2B5EF4-FFF2-40B4-BE49-F238E27FC236}">
                  <a16:creationId xmlns:a16="http://schemas.microsoft.com/office/drawing/2014/main" id="{6D690CF5-83F5-48F6-81EA-1F39F8E93BCF}"/>
                </a:ext>
              </a:extLst>
            </p:cNvPr>
            <p:cNvPicPr>
              <a:picLocks noChangeAspect="1"/>
            </p:cNvPicPr>
            <p:nvPr/>
          </p:nvPicPr>
          <p:blipFill>
            <a:blip r:embed="rId67"/>
            <a:stretch>
              <a:fillRect/>
            </a:stretch>
          </p:blipFill>
          <p:spPr>
            <a:xfrm>
              <a:off x="1105574" y="5487382"/>
              <a:ext cx="457195" cy="457195"/>
            </a:xfrm>
            <a:prstGeom prst="rect">
              <a:avLst/>
            </a:prstGeom>
          </p:spPr>
        </p:pic>
        <p:pic>
          <p:nvPicPr>
            <p:cNvPr id="163" name="Picture 162">
              <a:extLst>
                <a:ext uri="{FF2B5EF4-FFF2-40B4-BE49-F238E27FC236}">
                  <a16:creationId xmlns:a16="http://schemas.microsoft.com/office/drawing/2014/main" id="{7B55DFAA-B4C6-4F0A-972E-0E4D9B8ACE0C}"/>
                </a:ext>
              </a:extLst>
            </p:cNvPr>
            <p:cNvPicPr>
              <a:picLocks noChangeAspect="1"/>
            </p:cNvPicPr>
            <p:nvPr/>
          </p:nvPicPr>
          <p:blipFill>
            <a:blip r:embed="rId68"/>
            <a:stretch>
              <a:fillRect/>
            </a:stretch>
          </p:blipFill>
          <p:spPr>
            <a:xfrm>
              <a:off x="2610356" y="2491433"/>
              <a:ext cx="457195" cy="457195"/>
            </a:xfrm>
            <a:prstGeom prst="rect">
              <a:avLst/>
            </a:prstGeom>
          </p:spPr>
        </p:pic>
        <p:pic>
          <p:nvPicPr>
            <p:cNvPr id="165" name="Picture 164">
              <a:extLst>
                <a:ext uri="{FF2B5EF4-FFF2-40B4-BE49-F238E27FC236}">
                  <a16:creationId xmlns:a16="http://schemas.microsoft.com/office/drawing/2014/main" id="{EF68730E-DC45-4B11-8364-36251969E000}"/>
                </a:ext>
              </a:extLst>
            </p:cNvPr>
            <p:cNvPicPr>
              <a:picLocks noChangeAspect="1"/>
            </p:cNvPicPr>
            <p:nvPr/>
          </p:nvPicPr>
          <p:blipFill>
            <a:blip r:embed="rId69"/>
            <a:stretch>
              <a:fillRect/>
            </a:stretch>
          </p:blipFill>
          <p:spPr>
            <a:xfrm>
              <a:off x="7877100" y="2491433"/>
              <a:ext cx="457195" cy="457195"/>
            </a:xfrm>
            <a:prstGeom prst="rect">
              <a:avLst/>
            </a:prstGeom>
          </p:spPr>
        </p:pic>
        <p:pic>
          <p:nvPicPr>
            <p:cNvPr id="167" name="Picture 166">
              <a:extLst>
                <a:ext uri="{FF2B5EF4-FFF2-40B4-BE49-F238E27FC236}">
                  <a16:creationId xmlns:a16="http://schemas.microsoft.com/office/drawing/2014/main" id="{1A591AFF-A434-41FB-947F-98AECFE13CDE}"/>
                </a:ext>
              </a:extLst>
            </p:cNvPr>
            <p:cNvPicPr>
              <a:picLocks noChangeAspect="1"/>
            </p:cNvPicPr>
            <p:nvPr/>
          </p:nvPicPr>
          <p:blipFill>
            <a:blip r:embed="rId70"/>
            <a:stretch>
              <a:fillRect/>
            </a:stretch>
          </p:blipFill>
          <p:spPr>
            <a:xfrm>
              <a:off x="7124708" y="2491433"/>
              <a:ext cx="457195" cy="457195"/>
            </a:xfrm>
            <a:prstGeom prst="rect">
              <a:avLst/>
            </a:prstGeom>
          </p:spPr>
        </p:pic>
      </p:grpSp>
    </p:spTree>
    <p:extLst>
      <p:ext uri="{BB962C8B-B14F-4D97-AF65-F5344CB8AC3E}">
        <p14:creationId xmlns:p14="http://schemas.microsoft.com/office/powerpoint/2010/main" val="334900854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25D90-5B4F-4B89-98D5-7C55B5A723A3}"/>
              </a:ext>
            </a:extLst>
          </p:cNvPr>
          <p:cNvSpPr>
            <a:spLocks noGrp="1"/>
          </p:cNvSpPr>
          <p:nvPr>
            <p:ph type="title"/>
          </p:nvPr>
        </p:nvSpPr>
        <p:spPr/>
        <p:txBody>
          <a:bodyPr/>
          <a:lstStyle/>
          <a:p>
            <a:r>
              <a:rPr lang="sv-SE" dirty="0"/>
              <a:t>Azure Portal</a:t>
            </a:r>
          </a:p>
        </p:txBody>
      </p:sp>
      <p:sp>
        <p:nvSpPr>
          <p:cNvPr id="3" name="TextBox 2">
            <a:extLst>
              <a:ext uri="{FF2B5EF4-FFF2-40B4-BE49-F238E27FC236}">
                <a16:creationId xmlns:a16="http://schemas.microsoft.com/office/drawing/2014/main" id="{4C05B3AE-0084-4322-84F2-61F7C7D2DC2D}"/>
              </a:ext>
            </a:extLst>
          </p:cNvPr>
          <p:cNvSpPr txBox="1"/>
          <p:nvPr/>
        </p:nvSpPr>
        <p:spPr>
          <a:xfrm>
            <a:off x="1463409" y="1394165"/>
            <a:ext cx="8311473" cy="5955476"/>
          </a:xfrm>
          <a:prstGeom prst="rect">
            <a:avLst/>
          </a:prstGeom>
          <a:noFill/>
        </p:spPr>
        <p:txBody>
          <a:bodyPr wrap="square">
            <a:spAutoFit/>
          </a:bodyPr>
          <a:lstStyle/>
          <a:p>
            <a:pPr marL="0" marR="0" lvl="0" indent="0" algn="l" defTabSz="932742" rtl="0" eaLnBrk="1" fontAlgn="auto" latinLnBrk="0" hangingPunct="1">
              <a:lnSpc>
                <a:spcPct val="100000"/>
              </a:lnSpc>
              <a:spcBef>
                <a:spcPts val="0"/>
              </a:spcBef>
              <a:spcAft>
                <a:spcPts val="2400"/>
              </a:spcAft>
              <a:buClrTx/>
              <a:buSzTx/>
              <a:buFontTx/>
              <a:buNone/>
              <a:tabLst/>
              <a:defRPr/>
            </a:pPr>
            <a:r>
              <a:rPr kumimoji="0" lang="en-US" sz="3200" b="0" i="0" u="none" strike="noStrike" kern="1200" cap="none" spc="0" normalizeH="0" baseline="0" noProof="0" dirty="0">
                <a:ln>
                  <a:noFill/>
                </a:ln>
                <a:effectLst/>
                <a:uLnTx/>
                <a:uFillTx/>
                <a:latin typeface="Segoe UI Light" panose="020B0502040204020203" pitchFamily="34" charset="0"/>
                <a:ea typeface="MS PGothic" panose="020B0600070205080204" pitchFamily="34" charset="-128"/>
                <a:cs typeface="Segoe UI Light" panose="020B0502040204020203" pitchFamily="34" charset="0"/>
              </a:rPr>
              <a:t>Use Resource Groups!</a:t>
            </a:r>
          </a:p>
          <a:p>
            <a:pPr marL="457200" marR="0" lvl="0" indent="-457200" algn="l" defTabSz="932742" rtl="0" eaLnBrk="1" fontAlgn="auto" latinLnBrk="0" hangingPunct="1">
              <a:spcBef>
                <a:spcPts val="0"/>
              </a:spcBef>
              <a:spcAft>
                <a:spcPts val="600"/>
              </a:spcAft>
              <a:buClrTx/>
              <a:buSzTx/>
              <a:buFont typeface="Arial" panose="020B0604020202020204" pitchFamily="34" charset="0"/>
              <a:buChar char="•"/>
              <a:tabLst/>
              <a:defRPr/>
            </a:pPr>
            <a:r>
              <a:rPr kumimoji="0" lang="en-US" sz="2800" b="0" i="0" u="none" strike="noStrike" kern="1200" cap="none" spc="0" normalizeH="0" baseline="0" noProof="0" dirty="0">
                <a:ln>
                  <a:noFill/>
                </a:ln>
                <a:effectLst/>
                <a:uLnTx/>
                <a:uFillTx/>
                <a:latin typeface="Segoe UI Light"/>
                <a:ea typeface="MS PGothic" panose="020B0600070205080204" pitchFamily="34" charset="-128"/>
                <a:cs typeface="+mn-cs"/>
              </a:rPr>
              <a:t>IoT Hub</a:t>
            </a:r>
          </a:p>
          <a:p>
            <a:pPr marL="922338" lvl="1" indent="-457200" defTabSz="932742" eaLnBrk="1" fontAlgn="auto" hangingPunct="1">
              <a:spcBef>
                <a:spcPts val="0"/>
              </a:spcBef>
              <a:spcAft>
                <a:spcPts val="600"/>
              </a:spcAft>
              <a:buFont typeface="Arial" panose="020B0604020202020204" pitchFamily="34" charset="0"/>
              <a:buChar char="•"/>
              <a:defRPr/>
            </a:pPr>
            <a:r>
              <a:rPr kumimoji="0" lang="en-US" sz="2800" b="0" i="0" u="none" strike="noStrike" kern="1200" cap="none" spc="0" normalizeH="0" baseline="0" noProof="0" dirty="0">
                <a:ln>
                  <a:noFill/>
                </a:ln>
                <a:effectLst/>
                <a:uLnTx/>
                <a:uFillTx/>
                <a:latin typeface="Segoe UI Light"/>
                <a:ea typeface="MS PGothic" panose="020B0600070205080204" pitchFamily="34" charset="-128"/>
                <a:cs typeface="+mn-cs"/>
              </a:rPr>
              <a:t>Devices</a:t>
            </a:r>
          </a:p>
          <a:p>
            <a:pPr marL="457200" indent="-457200" defTabSz="932742" eaLnBrk="1" fontAlgn="auto" hangingPunct="1">
              <a:spcBef>
                <a:spcPts val="0"/>
              </a:spcBef>
              <a:spcAft>
                <a:spcPts val="600"/>
              </a:spcAft>
              <a:buFont typeface="Arial" panose="020B0604020202020204" pitchFamily="34" charset="0"/>
              <a:buChar char="•"/>
              <a:defRPr/>
            </a:pPr>
            <a:r>
              <a:rPr lang="en-US" sz="2800" dirty="0">
                <a:latin typeface="Segoe UI Light"/>
              </a:rPr>
              <a:t>Azure Stream Analytics Job</a:t>
            </a:r>
          </a:p>
          <a:p>
            <a:pPr marL="922338" lvl="1" indent="-457200" defTabSz="932742" eaLnBrk="1" fontAlgn="auto" hangingPunct="1">
              <a:spcBef>
                <a:spcPts val="0"/>
              </a:spcBef>
              <a:spcAft>
                <a:spcPts val="600"/>
              </a:spcAft>
              <a:buFont typeface="Arial" panose="020B0604020202020204" pitchFamily="34" charset="0"/>
              <a:buChar char="•"/>
              <a:defRPr/>
            </a:pPr>
            <a:r>
              <a:rPr lang="en-US" sz="2800" dirty="0">
                <a:latin typeface="Segoe UI Light"/>
              </a:rPr>
              <a:t>IoT Hub Input</a:t>
            </a:r>
          </a:p>
          <a:p>
            <a:pPr marL="922338" lvl="1" indent="-457200" defTabSz="932742" eaLnBrk="1" fontAlgn="auto" hangingPunct="1">
              <a:spcBef>
                <a:spcPts val="0"/>
              </a:spcBef>
              <a:spcAft>
                <a:spcPts val="600"/>
              </a:spcAft>
              <a:buFont typeface="Arial" panose="020B0604020202020204" pitchFamily="34" charset="0"/>
              <a:buChar char="•"/>
              <a:defRPr/>
            </a:pPr>
            <a:r>
              <a:rPr lang="en-US" sz="2800" dirty="0">
                <a:latin typeface="Segoe UI Light"/>
              </a:rPr>
              <a:t>Power BI output</a:t>
            </a:r>
          </a:p>
          <a:p>
            <a:pPr marL="457200" indent="-457200" defTabSz="932742" eaLnBrk="1" fontAlgn="auto" hangingPunct="1">
              <a:spcBef>
                <a:spcPts val="0"/>
              </a:spcBef>
              <a:spcAft>
                <a:spcPts val="600"/>
              </a:spcAft>
              <a:buFont typeface="Arial" panose="020B0604020202020204" pitchFamily="34" charset="0"/>
              <a:buChar char="•"/>
              <a:defRPr/>
            </a:pPr>
            <a:r>
              <a:rPr kumimoji="0" lang="en-US" sz="2800" b="0" i="0" u="none" strike="noStrike" kern="1200" cap="none" spc="0" normalizeH="0" baseline="0" noProof="0" dirty="0">
                <a:ln>
                  <a:noFill/>
                </a:ln>
                <a:effectLst/>
                <a:uLnTx/>
                <a:uFillTx/>
                <a:latin typeface="Segoe UI Light"/>
                <a:ea typeface="MS PGothic" panose="020B0600070205080204" pitchFamily="34" charset="-128"/>
                <a:cs typeface="+mn-cs"/>
              </a:rPr>
              <a:t>Service Bus Namespace</a:t>
            </a:r>
          </a:p>
          <a:p>
            <a:pPr marL="922338" lvl="1" indent="-457200" defTabSz="932742" eaLnBrk="1" fontAlgn="auto" hangingPunct="1">
              <a:spcBef>
                <a:spcPts val="0"/>
              </a:spcBef>
              <a:spcAft>
                <a:spcPts val="600"/>
              </a:spcAft>
              <a:buFont typeface="Arial" panose="020B0604020202020204" pitchFamily="34" charset="0"/>
              <a:buChar char="•"/>
              <a:defRPr/>
            </a:pPr>
            <a:r>
              <a:rPr lang="en-US" sz="2800" dirty="0">
                <a:latin typeface="Segoe UI Light"/>
              </a:rPr>
              <a:t>Queue</a:t>
            </a:r>
          </a:p>
          <a:p>
            <a:pPr marL="457200" indent="-457200" defTabSz="932742" eaLnBrk="1" fontAlgn="auto" hangingPunct="1">
              <a:spcBef>
                <a:spcPts val="0"/>
              </a:spcBef>
              <a:spcAft>
                <a:spcPts val="600"/>
              </a:spcAft>
              <a:buFont typeface="Arial" panose="020B0604020202020204" pitchFamily="34" charset="0"/>
              <a:buChar char="•"/>
              <a:defRPr/>
            </a:pPr>
            <a:r>
              <a:rPr kumimoji="0" lang="en-US" sz="2800" b="0" i="0" u="none" strike="noStrike" kern="1200" cap="none" spc="0" normalizeH="0" baseline="0" noProof="0" dirty="0">
                <a:ln>
                  <a:noFill/>
                </a:ln>
                <a:effectLst/>
                <a:uLnTx/>
                <a:uFillTx/>
                <a:latin typeface="Segoe UI Light"/>
                <a:ea typeface="MS PGothic" panose="020B0600070205080204" pitchFamily="34" charset="-128"/>
                <a:cs typeface="+mn-cs"/>
              </a:rPr>
              <a:t>Function App</a:t>
            </a:r>
          </a:p>
          <a:p>
            <a:pPr marL="922338" lvl="1" indent="-457200" defTabSz="932742" eaLnBrk="1" fontAlgn="auto" hangingPunct="1">
              <a:spcBef>
                <a:spcPts val="0"/>
              </a:spcBef>
              <a:spcAft>
                <a:spcPts val="600"/>
              </a:spcAft>
              <a:buFont typeface="Arial" panose="020B0604020202020204" pitchFamily="34" charset="0"/>
              <a:buChar char="•"/>
              <a:defRPr/>
            </a:pPr>
            <a:r>
              <a:rPr lang="en-US" sz="2800" dirty="0">
                <a:latin typeface="Segoe UI Light"/>
              </a:rPr>
              <a:t>Function</a:t>
            </a:r>
            <a:endParaRPr kumimoji="0" lang="en-US" sz="2800" b="0" i="0" u="none" strike="noStrike" kern="1200" cap="none" spc="0" normalizeH="0" baseline="0" noProof="0" dirty="0">
              <a:ln>
                <a:noFill/>
              </a:ln>
              <a:effectLst/>
              <a:uLnTx/>
              <a:uFillTx/>
              <a:latin typeface="Segoe UI Light"/>
              <a:ea typeface="MS PGothic" panose="020B0600070205080204" pitchFamily="34" charset="-128"/>
              <a:cs typeface="+mn-cs"/>
            </a:endParaRPr>
          </a:p>
          <a:p>
            <a:pPr marL="0" marR="0" lvl="0" indent="0" algn="l" defTabSz="932742" rtl="0" eaLnBrk="1" fontAlgn="auto" latinLnBrk="0" hangingPunct="1">
              <a:lnSpc>
                <a:spcPct val="100000"/>
              </a:lnSpc>
              <a:spcBef>
                <a:spcPts val="0"/>
              </a:spcBef>
              <a:spcAft>
                <a:spcPts val="2400"/>
              </a:spcAft>
              <a:buClrTx/>
              <a:buSzTx/>
              <a:buFontTx/>
              <a:buNone/>
              <a:tabLst/>
              <a:defRPr/>
            </a:pPr>
            <a:endParaRPr kumimoji="0" lang="en-US" sz="3200" b="0" i="0" u="none" strike="noStrike" kern="1200" cap="none" spc="0" normalizeH="0" baseline="0" noProof="0" dirty="0">
              <a:ln>
                <a:noFill/>
              </a:ln>
              <a:effectLst/>
              <a:uLnTx/>
              <a:uFillTx/>
              <a:latin typeface="Segoe UI Light"/>
              <a:ea typeface="MS PGothic" panose="020B0600070205080204" pitchFamily="34" charset="-128"/>
              <a:cs typeface="+mn-cs"/>
            </a:endParaRPr>
          </a:p>
        </p:txBody>
      </p:sp>
      <p:pic>
        <p:nvPicPr>
          <p:cNvPr id="4" name="Picture 3">
            <a:extLst>
              <a:ext uri="{FF2B5EF4-FFF2-40B4-BE49-F238E27FC236}">
                <a16:creationId xmlns:a16="http://schemas.microsoft.com/office/drawing/2014/main" id="{1BA0D9E7-6738-4123-8E00-C4B12147AC87}"/>
              </a:ext>
            </a:extLst>
          </p:cNvPr>
          <p:cNvPicPr>
            <a:picLocks noChangeAspect="1"/>
          </p:cNvPicPr>
          <p:nvPr/>
        </p:nvPicPr>
        <p:blipFill>
          <a:blip r:embed="rId2"/>
          <a:stretch>
            <a:fillRect/>
          </a:stretch>
        </p:blipFill>
        <p:spPr>
          <a:xfrm>
            <a:off x="914775" y="2262835"/>
            <a:ext cx="457195" cy="457195"/>
          </a:xfrm>
          <a:prstGeom prst="rect">
            <a:avLst/>
          </a:prstGeom>
        </p:spPr>
      </p:pic>
      <p:pic>
        <p:nvPicPr>
          <p:cNvPr id="5" name="Picture 4">
            <a:extLst>
              <a:ext uri="{FF2B5EF4-FFF2-40B4-BE49-F238E27FC236}">
                <a16:creationId xmlns:a16="http://schemas.microsoft.com/office/drawing/2014/main" id="{4F804EB9-3A12-4E92-90FE-8B81601F06B0}"/>
              </a:ext>
            </a:extLst>
          </p:cNvPr>
          <p:cNvPicPr>
            <a:picLocks noChangeAspect="1"/>
          </p:cNvPicPr>
          <p:nvPr/>
        </p:nvPicPr>
        <p:blipFill>
          <a:blip r:embed="rId3"/>
          <a:stretch>
            <a:fillRect/>
          </a:stretch>
        </p:blipFill>
        <p:spPr>
          <a:xfrm>
            <a:off x="914775" y="3228705"/>
            <a:ext cx="457195" cy="457195"/>
          </a:xfrm>
          <a:prstGeom prst="rect">
            <a:avLst/>
          </a:prstGeom>
        </p:spPr>
      </p:pic>
      <p:pic>
        <p:nvPicPr>
          <p:cNvPr id="6" name="Picture 5">
            <a:extLst>
              <a:ext uri="{FF2B5EF4-FFF2-40B4-BE49-F238E27FC236}">
                <a16:creationId xmlns:a16="http://schemas.microsoft.com/office/drawing/2014/main" id="{0AC49FDC-6393-49B7-95D2-5C4B702CF73A}"/>
              </a:ext>
            </a:extLst>
          </p:cNvPr>
          <p:cNvPicPr>
            <a:picLocks noChangeAspect="1"/>
          </p:cNvPicPr>
          <p:nvPr/>
        </p:nvPicPr>
        <p:blipFill>
          <a:blip r:embed="rId4"/>
          <a:stretch>
            <a:fillRect/>
          </a:stretch>
        </p:blipFill>
        <p:spPr>
          <a:xfrm>
            <a:off x="914775" y="4797994"/>
            <a:ext cx="457195" cy="457195"/>
          </a:xfrm>
          <a:prstGeom prst="rect">
            <a:avLst/>
          </a:prstGeom>
        </p:spPr>
      </p:pic>
      <p:pic>
        <p:nvPicPr>
          <p:cNvPr id="7" name="Picture 6">
            <a:extLst>
              <a:ext uri="{FF2B5EF4-FFF2-40B4-BE49-F238E27FC236}">
                <a16:creationId xmlns:a16="http://schemas.microsoft.com/office/drawing/2014/main" id="{305455DD-9EFC-45E9-94D9-6966D87D71C5}"/>
              </a:ext>
            </a:extLst>
          </p:cNvPr>
          <p:cNvPicPr>
            <a:picLocks noChangeAspect="1"/>
          </p:cNvPicPr>
          <p:nvPr/>
        </p:nvPicPr>
        <p:blipFill>
          <a:blip r:embed="rId5"/>
          <a:stretch>
            <a:fillRect/>
          </a:stretch>
        </p:blipFill>
        <p:spPr>
          <a:xfrm>
            <a:off x="914774" y="5783237"/>
            <a:ext cx="457195" cy="457195"/>
          </a:xfrm>
          <a:prstGeom prst="rect">
            <a:avLst/>
          </a:prstGeom>
        </p:spPr>
      </p:pic>
    </p:spTree>
    <p:extLst>
      <p:ext uri="{BB962C8B-B14F-4D97-AF65-F5344CB8AC3E}">
        <p14:creationId xmlns:p14="http://schemas.microsoft.com/office/powerpoint/2010/main" val="29536006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500"/>
                                        <p:tgtEl>
                                          <p:spTgt spid="3">
                                            <p:txEl>
                                              <p:pRg st="1" end="1"/>
                                            </p:txEl>
                                          </p:spTgt>
                                        </p:tgtEl>
                                      </p:cBhvr>
                                    </p:animEffect>
                                  </p:childTnLst>
                                </p:cTn>
                              </p:par>
                              <p:par>
                                <p:cTn id="12" presetID="10" presetClass="entr" presetSubtype="0" fill="hold" nodeType="withEffect">
                                  <p:stCondLst>
                                    <p:cond delay="0"/>
                                  </p:stCondLst>
                                  <p:childTnLst>
                                    <p:set>
                                      <p:cBhvr>
                                        <p:cTn id="13" dur="1" fill="hold">
                                          <p:stCondLst>
                                            <p:cond delay="0"/>
                                          </p:stCondLst>
                                        </p:cTn>
                                        <p:tgtEl>
                                          <p:spTgt spid="3">
                                            <p:txEl>
                                              <p:pRg st="2" end="2"/>
                                            </p:txEl>
                                          </p:spTgt>
                                        </p:tgtEl>
                                        <p:attrNameLst>
                                          <p:attrName>style.visibility</p:attrName>
                                        </p:attrNameLst>
                                      </p:cBhvr>
                                      <p:to>
                                        <p:strVal val="visible"/>
                                      </p:to>
                                    </p:set>
                                    <p:animEffect transition="in" filter="fade">
                                      <p:cBhvr>
                                        <p:cTn id="14" dur="500"/>
                                        <p:tgtEl>
                                          <p:spTgt spid="3">
                                            <p:txEl>
                                              <p:pRg st="2" end="2"/>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3">
                                            <p:txEl>
                                              <p:pRg st="3" end="3"/>
                                            </p:txEl>
                                          </p:spTgt>
                                        </p:tgtEl>
                                        <p:attrNameLst>
                                          <p:attrName>style.visibility</p:attrName>
                                        </p:attrNameLst>
                                      </p:cBhvr>
                                      <p:to>
                                        <p:strVal val="visible"/>
                                      </p:to>
                                    </p:set>
                                    <p:animEffect transition="in" filter="fade">
                                      <p:cBhvr>
                                        <p:cTn id="23" dur="500"/>
                                        <p:tgtEl>
                                          <p:spTgt spid="3">
                                            <p:txEl>
                                              <p:pRg st="3" end="3"/>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3">
                                            <p:txEl>
                                              <p:pRg st="4" end="4"/>
                                            </p:txEl>
                                          </p:spTgt>
                                        </p:tgtEl>
                                        <p:attrNameLst>
                                          <p:attrName>style.visibility</p:attrName>
                                        </p:attrNameLst>
                                      </p:cBhvr>
                                      <p:to>
                                        <p:strVal val="visible"/>
                                      </p:to>
                                    </p:set>
                                    <p:animEffect transition="in" filter="fade">
                                      <p:cBhvr>
                                        <p:cTn id="26" dur="500"/>
                                        <p:tgtEl>
                                          <p:spTgt spid="3">
                                            <p:txEl>
                                              <p:pRg st="4" end="4"/>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3">
                                            <p:txEl>
                                              <p:pRg st="5" end="5"/>
                                            </p:txEl>
                                          </p:spTgt>
                                        </p:tgtEl>
                                        <p:attrNameLst>
                                          <p:attrName>style.visibility</p:attrName>
                                        </p:attrNameLst>
                                      </p:cBhvr>
                                      <p:to>
                                        <p:strVal val="visible"/>
                                      </p:to>
                                    </p:set>
                                    <p:animEffect transition="in" filter="fade">
                                      <p:cBhvr>
                                        <p:cTn id="29" dur="500"/>
                                        <p:tgtEl>
                                          <p:spTgt spid="3">
                                            <p:txEl>
                                              <p:pRg st="5" end="5"/>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6"/>
                                        </p:tgtEl>
                                        <p:attrNameLst>
                                          <p:attrName>style.visibility</p:attrName>
                                        </p:attrNameLst>
                                      </p:cBhvr>
                                      <p:to>
                                        <p:strVal val="visible"/>
                                      </p:to>
                                    </p:set>
                                    <p:animEffect transition="in" filter="fade">
                                      <p:cBhvr>
                                        <p:cTn id="34" dur="500"/>
                                        <p:tgtEl>
                                          <p:spTgt spid="6"/>
                                        </p:tgtEl>
                                      </p:cBhvr>
                                    </p:animEffect>
                                  </p:childTnLst>
                                </p:cTn>
                              </p:par>
                            </p:childTnLst>
                          </p:cTn>
                        </p:par>
                        <p:par>
                          <p:cTn id="35" fill="hold">
                            <p:stCondLst>
                              <p:cond delay="500"/>
                            </p:stCondLst>
                            <p:childTnLst>
                              <p:par>
                                <p:cTn id="36" presetID="10" presetClass="entr" presetSubtype="0" fill="hold" nodeType="afterEffect">
                                  <p:stCondLst>
                                    <p:cond delay="0"/>
                                  </p:stCondLst>
                                  <p:childTnLst>
                                    <p:set>
                                      <p:cBhvr>
                                        <p:cTn id="37" dur="1" fill="hold">
                                          <p:stCondLst>
                                            <p:cond delay="0"/>
                                          </p:stCondLst>
                                        </p:cTn>
                                        <p:tgtEl>
                                          <p:spTgt spid="3">
                                            <p:txEl>
                                              <p:pRg st="6" end="6"/>
                                            </p:txEl>
                                          </p:spTgt>
                                        </p:tgtEl>
                                        <p:attrNameLst>
                                          <p:attrName>style.visibility</p:attrName>
                                        </p:attrNameLst>
                                      </p:cBhvr>
                                      <p:to>
                                        <p:strVal val="visible"/>
                                      </p:to>
                                    </p:set>
                                    <p:animEffect transition="in" filter="fade">
                                      <p:cBhvr>
                                        <p:cTn id="38" dur="500"/>
                                        <p:tgtEl>
                                          <p:spTgt spid="3">
                                            <p:txEl>
                                              <p:pRg st="6" end="6"/>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3">
                                            <p:txEl>
                                              <p:pRg st="7" end="7"/>
                                            </p:txEl>
                                          </p:spTgt>
                                        </p:tgtEl>
                                        <p:attrNameLst>
                                          <p:attrName>style.visibility</p:attrName>
                                        </p:attrNameLst>
                                      </p:cBhvr>
                                      <p:to>
                                        <p:strVal val="visible"/>
                                      </p:to>
                                    </p:set>
                                    <p:animEffect transition="in" filter="fade">
                                      <p:cBhvr>
                                        <p:cTn id="41" dur="500"/>
                                        <p:tgtEl>
                                          <p:spTgt spid="3">
                                            <p:txEl>
                                              <p:pRg st="7" end="7"/>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childTnLst>
                          </p:cTn>
                        </p:par>
                        <p:par>
                          <p:cTn id="47" fill="hold">
                            <p:stCondLst>
                              <p:cond delay="500"/>
                            </p:stCondLst>
                            <p:childTnLst>
                              <p:par>
                                <p:cTn id="48" presetID="10" presetClass="entr" presetSubtype="0" fill="hold" nodeType="afterEffect">
                                  <p:stCondLst>
                                    <p:cond delay="0"/>
                                  </p:stCondLst>
                                  <p:childTnLst>
                                    <p:set>
                                      <p:cBhvr>
                                        <p:cTn id="49" dur="1" fill="hold">
                                          <p:stCondLst>
                                            <p:cond delay="0"/>
                                          </p:stCondLst>
                                        </p:cTn>
                                        <p:tgtEl>
                                          <p:spTgt spid="3">
                                            <p:txEl>
                                              <p:pRg st="8" end="8"/>
                                            </p:txEl>
                                          </p:spTgt>
                                        </p:tgtEl>
                                        <p:attrNameLst>
                                          <p:attrName>style.visibility</p:attrName>
                                        </p:attrNameLst>
                                      </p:cBhvr>
                                      <p:to>
                                        <p:strVal val="visible"/>
                                      </p:to>
                                    </p:set>
                                    <p:animEffect transition="in" filter="fade">
                                      <p:cBhvr>
                                        <p:cTn id="50" dur="500"/>
                                        <p:tgtEl>
                                          <p:spTgt spid="3">
                                            <p:txEl>
                                              <p:pRg st="8" end="8"/>
                                            </p:txEl>
                                          </p:spTgt>
                                        </p:tgtEl>
                                      </p:cBhvr>
                                    </p:animEffect>
                                  </p:childTnLst>
                                </p:cTn>
                              </p:par>
                              <p:par>
                                <p:cTn id="51" presetID="10" presetClass="entr" presetSubtype="0" fill="hold" nodeType="withEffect">
                                  <p:stCondLst>
                                    <p:cond delay="0"/>
                                  </p:stCondLst>
                                  <p:childTnLst>
                                    <p:set>
                                      <p:cBhvr>
                                        <p:cTn id="52" dur="1" fill="hold">
                                          <p:stCondLst>
                                            <p:cond delay="0"/>
                                          </p:stCondLst>
                                        </p:cTn>
                                        <p:tgtEl>
                                          <p:spTgt spid="3">
                                            <p:txEl>
                                              <p:pRg st="9" end="9"/>
                                            </p:txEl>
                                          </p:spTgt>
                                        </p:tgtEl>
                                        <p:attrNameLst>
                                          <p:attrName>style.visibility</p:attrName>
                                        </p:attrNameLst>
                                      </p:cBhvr>
                                      <p:to>
                                        <p:strVal val="visible"/>
                                      </p:to>
                                    </p:set>
                                    <p:animEffect transition="in" filter="fade">
                                      <p:cBhvr>
                                        <p:cTn id="53"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 y="-1059209"/>
            <a:ext cx="12434711" cy="8283430"/>
          </a:xfrm>
          <a:prstGeom prst="rect">
            <a:avLst/>
          </a:prstGeom>
        </p:spPr>
      </p:pic>
      <p:sp>
        <p:nvSpPr>
          <p:cNvPr id="5" name="Rectangle 4"/>
          <p:cNvSpPr/>
          <p:nvPr/>
        </p:nvSpPr>
        <p:spPr>
          <a:xfrm>
            <a:off x="458019" y="2943811"/>
            <a:ext cx="6948926" cy="1010646"/>
          </a:xfrm>
          <a:prstGeom prst="rect">
            <a:avLst/>
          </a:prstGeom>
          <a:solidFill>
            <a:schemeClr val="bg2">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86521" rIns="186521" bIns="186521" rtlCol="0" anchor="t"/>
          <a:lstStyle/>
          <a:p>
            <a:r>
              <a:rPr lang="en-US" sz="4400" dirty="0">
                <a:solidFill>
                  <a:srgbClr val="FFFFFF"/>
                </a:solidFill>
                <a:latin typeface="+mj-lt"/>
              </a:rPr>
              <a:t>Overview of Azure IoT Hub</a:t>
            </a:r>
          </a:p>
          <a:p>
            <a:endParaRPr lang="en-US" sz="4400" dirty="0">
              <a:solidFill>
                <a:srgbClr val="FFFFFF"/>
              </a:solidFill>
              <a:latin typeface="+mj-lt"/>
              <a:cs typeface="Segoe UI Light" panose="020B0502040204020203" pitchFamily="34" charset="0"/>
            </a:endParaRPr>
          </a:p>
        </p:txBody>
      </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ltGray">
          <a:xfrm>
            <a:off x="458018" y="477661"/>
            <a:ext cx="1552711" cy="332660"/>
          </a:xfrm>
          <a:prstGeom prst="rect">
            <a:avLst/>
          </a:prstGeom>
        </p:spPr>
      </p:pic>
    </p:spTree>
    <p:extLst>
      <p:ext uri="{BB962C8B-B14F-4D97-AF65-F5344CB8AC3E}">
        <p14:creationId xmlns:p14="http://schemas.microsoft.com/office/powerpoint/2010/main" val="16643139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OT Solution Architecture</a:t>
            </a:r>
          </a:p>
        </p:txBody>
      </p:sp>
      <p:sp>
        <p:nvSpPr>
          <p:cNvPr id="3" name="Text Placeholder 2"/>
          <p:cNvSpPr>
            <a:spLocks noGrp="1"/>
          </p:cNvSpPr>
          <p:nvPr>
            <p:ph type="body" sz="quarter" idx="10"/>
          </p:nvPr>
        </p:nvSpPr>
        <p:spPr/>
        <p:txBody>
          <a:bodyPr/>
          <a:lstStyle/>
          <a:p>
            <a:endParaRPr lang="sv-SE"/>
          </a:p>
        </p:txBody>
      </p:sp>
      <p:pic>
        <p:nvPicPr>
          <p:cNvPr id="133122" name="Picture 2" descr="IoT solution architectur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51564" y="1387470"/>
            <a:ext cx="8081428" cy="55844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31851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ing Microsoft Azure IoT Hub</a:t>
            </a:r>
          </a:p>
        </p:txBody>
      </p:sp>
      <p:sp>
        <p:nvSpPr>
          <p:cNvPr id="5" name="Text Placeholder 4"/>
          <p:cNvSpPr>
            <a:spLocks noGrp="1"/>
          </p:cNvSpPr>
          <p:nvPr>
            <p:ph type="body" sz="quarter" idx="10"/>
          </p:nvPr>
        </p:nvSpPr>
        <p:spPr>
          <a:xfrm>
            <a:off x="275482" y="3790564"/>
            <a:ext cx="11885514" cy="2564135"/>
          </a:xfrm>
        </p:spPr>
        <p:txBody>
          <a:bodyPr/>
          <a:lstStyle/>
          <a:p>
            <a:pPr marL="0" lvl="2">
              <a:buClr>
                <a:prstClr val="white"/>
              </a:buClr>
              <a:defRPr/>
            </a:pPr>
            <a:r>
              <a:rPr lang="en-US" sz="2856" dirty="0">
                <a:solidFill>
                  <a:prstClr val="white"/>
                </a:solidFill>
                <a:latin typeface="Segoe UI Light"/>
              </a:rPr>
              <a:t>Azure IoT Hub is designed to connect your devices to Azure. It supports</a:t>
            </a:r>
          </a:p>
          <a:p>
            <a:pPr marL="694811" lvl="3" indent="-466298">
              <a:buClr>
                <a:prstClr val="white"/>
              </a:buClr>
              <a:buFont typeface="Webdings" panose="05030102010509060703" pitchFamily="18" charset="2"/>
              <a:buChar char=""/>
              <a:defRPr/>
            </a:pPr>
            <a:r>
              <a:rPr lang="en-US" sz="2856" dirty="0">
                <a:solidFill>
                  <a:prstClr val="white"/>
                </a:solidFill>
                <a:latin typeface="Segoe UI Light"/>
              </a:rPr>
              <a:t>Millions of simultaneously connected devices</a:t>
            </a:r>
          </a:p>
          <a:p>
            <a:pPr marL="694811" lvl="3" indent="-466298">
              <a:buClr>
                <a:prstClr val="white"/>
              </a:buClr>
              <a:buFont typeface="Webdings" panose="05030102010509060703" pitchFamily="18" charset="2"/>
              <a:buChar char=""/>
              <a:defRPr/>
            </a:pPr>
            <a:r>
              <a:rPr lang="en-US" sz="2856" dirty="0">
                <a:solidFill>
                  <a:prstClr val="white"/>
                </a:solidFill>
                <a:latin typeface="Segoe UI Light"/>
              </a:rPr>
              <a:t>Per-device authentication</a:t>
            </a:r>
          </a:p>
          <a:p>
            <a:pPr marL="694811" lvl="3" indent="-466298">
              <a:buClr>
                <a:prstClr val="white"/>
              </a:buClr>
              <a:buFont typeface="Webdings" panose="05030102010509060703" pitchFamily="18" charset="2"/>
              <a:buChar char=""/>
              <a:defRPr/>
            </a:pPr>
            <a:r>
              <a:rPr lang="en-US" sz="2856" dirty="0">
                <a:solidFill>
                  <a:prstClr val="white"/>
                </a:solidFill>
                <a:latin typeface="Segoe UI Light"/>
              </a:rPr>
              <a:t>High throughput data ingestion</a:t>
            </a:r>
          </a:p>
          <a:p>
            <a:pPr marL="694811" lvl="3" indent="-466298">
              <a:buClr>
                <a:prstClr val="white"/>
              </a:buClr>
              <a:buFont typeface="Webdings" panose="05030102010509060703" pitchFamily="18" charset="2"/>
              <a:buChar char=""/>
              <a:defRPr/>
            </a:pPr>
            <a:r>
              <a:rPr lang="en-US" sz="2856" dirty="0">
                <a:solidFill>
                  <a:prstClr val="white"/>
                </a:solidFill>
                <a:latin typeface="Segoe UI Light"/>
              </a:rPr>
              <a:t>Reliable command and control</a:t>
            </a:r>
          </a:p>
        </p:txBody>
      </p:sp>
      <p:sp>
        <p:nvSpPr>
          <p:cNvPr id="6" name="Text Placeholder 4"/>
          <p:cNvSpPr txBox="1">
            <a:spLocks/>
          </p:cNvSpPr>
          <p:nvPr/>
        </p:nvSpPr>
        <p:spPr>
          <a:xfrm>
            <a:off x="280988" y="1593197"/>
            <a:ext cx="11885514" cy="1652703"/>
          </a:xfrm>
          <a:prstGeom prst="rect">
            <a:avLst/>
          </a:prstGeom>
        </p:spPr>
        <p:txBody>
          <a:bodyPr vert="horz" wrap="square" lIns="149217" tIns="93260" rIns="149217" bIns="93260" rtlCol="0">
            <a:spAutoFit/>
          </a:bodyPr>
          <a:lstStyle>
            <a:lvl1pPr marL="0" marR="0" indent="0" algn="l" defTabSz="914192" rtl="0" eaLnBrk="1" fontAlgn="auto" latinLnBrk="0" hangingPunct="1">
              <a:lnSpc>
                <a:spcPct val="90000"/>
              </a:lnSpc>
              <a:spcBef>
                <a:spcPts val="1800"/>
              </a:spcBef>
              <a:spcAft>
                <a:spcPts val="0"/>
              </a:spcAft>
              <a:buClrTx/>
              <a:buSzPct val="90000"/>
              <a:buFont typeface="Arial" pitchFamily="34" charset="0"/>
              <a:buNone/>
              <a:tabLst/>
              <a:defRPr sz="3920" kern="1200" spc="0" baseline="0">
                <a:gradFill>
                  <a:gsLst>
                    <a:gs pos="1250">
                      <a:schemeClr val="tx1"/>
                    </a:gs>
                    <a:gs pos="99000">
                      <a:schemeClr val="tx1"/>
                    </a:gs>
                  </a:gsLst>
                  <a:lin ang="5400000" scaled="0"/>
                </a:gradFill>
                <a:latin typeface="+mj-lt"/>
                <a:ea typeface="+mn-ea"/>
                <a:cs typeface="+mn-cs"/>
              </a:defRPr>
            </a:lvl1pPr>
            <a:lvl2pPr marL="0" marR="0" indent="0" algn="l" defTabSz="914192" rtl="0" eaLnBrk="1" fontAlgn="auto" latinLnBrk="0" hangingPunct="1">
              <a:lnSpc>
                <a:spcPct val="90000"/>
              </a:lnSpc>
              <a:spcBef>
                <a:spcPts val="365"/>
              </a:spcBef>
              <a:spcAft>
                <a:spcPts val="60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54"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07"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161"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3998" dirty="0"/>
              <a:t>IoT Hub is available as a stand-alone service or as one of the services used in the new Azure IoT Suite</a:t>
            </a:r>
          </a:p>
          <a:p>
            <a:pPr lvl="1"/>
            <a:r>
              <a:rPr lang="en-US" sz="2000" dirty="0"/>
              <a:t> </a:t>
            </a:r>
          </a:p>
        </p:txBody>
      </p:sp>
    </p:spTree>
    <p:extLst>
      <p:ext uri="{BB962C8B-B14F-4D97-AF65-F5344CB8AC3E}">
        <p14:creationId xmlns:p14="http://schemas.microsoft.com/office/powerpoint/2010/main" val="133313374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8" name="Straight Connector 87"/>
          <p:cNvCxnSpPr/>
          <p:nvPr/>
        </p:nvCxnSpPr>
        <p:spPr>
          <a:xfrm>
            <a:off x="3292604" y="2419507"/>
            <a:ext cx="0" cy="4114172"/>
          </a:xfrm>
          <a:prstGeom prst="line">
            <a:avLst/>
          </a:prstGeom>
          <a:ln w="28575">
            <a:solidFill>
              <a:srgbClr val="777777"/>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t>IOT Solution Architecture</a:t>
            </a:r>
          </a:p>
        </p:txBody>
      </p:sp>
      <p:sp>
        <p:nvSpPr>
          <p:cNvPr id="8" name="Field gateway"/>
          <p:cNvSpPr/>
          <p:nvPr/>
        </p:nvSpPr>
        <p:spPr>
          <a:xfrm>
            <a:off x="2163220" y="3964698"/>
            <a:ext cx="961766" cy="153170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Field gateway</a:t>
            </a:r>
          </a:p>
        </p:txBody>
      </p:sp>
      <p:sp>
        <p:nvSpPr>
          <p:cNvPr id="9" name="Cloud protocol"/>
          <p:cNvSpPr/>
          <p:nvPr/>
        </p:nvSpPr>
        <p:spPr>
          <a:xfrm>
            <a:off x="3537100" y="3080186"/>
            <a:ext cx="976608" cy="153170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Cloud protocol</a:t>
            </a:r>
          </a:p>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gateway</a:t>
            </a:r>
          </a:p>
        </p:txBody>
      </p:sp>
      <p:grpSp>
        <p:nvGrpSpPr>
          <p:cNvPr id="10" name="Group 9"/>
          <p:cNvGrpSpPr/>
          <p:nvPr/>
        </p:nvGrpSpPr>
        <p:grpSpPr>
          <a:xfrm>
            <a:off x="1133890" y="2638224"/>
            <a:ext cx="313475" cy="314090"/>
            <a:chOff x="609600" y="502508"/>
            <a:chExt cx="395416" cy="395416"/>
          </a:xfrm>
        </p:grpSpPr>
        <p:sp>
          <p:nvSpPr>
            <p:cNvPr id="11" name="Rectangle 10"/>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2"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14" tIns="45707" rIns="91414" bIns="45707" numCol="1" anchor="t" anchorCtr="0" compatLnSpc="1">
              <a:prstTxWarp prst="textNoShape">
                <a:avLst/>
              </a:prstTxWarp>
            </a:bodyPr>
            <a:lstStyle/>
            <a:p>
              <a:pPr marL="0" marR="0" lvl="0" indent="0" algn="l" defTabSz="685214" rtl="0" eaLnBrk="1" fontAlgn="auto" latinLnBrk="0" hangingPunct="1">
                <a:lnSpc>
                  <a:spcPct val="100000"/>
                </a:lnSpc>
                <a:spcBef>
                  <a:spcPts val="0"/>
                </a:spcBef>
                <a:spcAft>
                  <a:spcPts val="0"/>
                </a:spcAft>
                <a:buClrTx/>
                <a:buSzTx/>
                <a:buFontTx/>
                <a:buNone/>
                <a:tabLst/>
                <a:defRPr/>
              </a:pPr>
              <a:endParaRPr kumimoji="0" lang="en-US" sz="1399" b="0" i="0" u="none" strike="noStrike" kern="1200" cap="none" spc="0" normalizeH="0" baseline="0" noProof="0">
                <a:ln>
                  <a:noFill/>
                </a:ln>
                <a:solidFill>
                  <a:prstClr val="white"/>
                </a:solidFill>
                <a:effectLst/>
                <a:uLnTx/>
                <a:uFillTx/>
                <a:latin typeface="Segoe UI"/>
                <a:ea typeface="+mn-ea"/>
                <a:cs typeface="+mn-cs"/>
              </a:endParaRPr>
            </a:p>
          </p:txBody>
        </p:sp>
      </p:grpSp>
      <p:cxnSp>
        <p:nvCxnSpPr>
          <p:cNvPr id="22" name="Straight Arrow Connector 21"/>
          <p:cNvCxnSpPr/>
          <p:nvPr/>
        </p:nvCxnSpPr>
        <p:spPr>
          <a:xfrm flipV="1">
            <a:off x="1467993" y="2774722"/>
            <a:ext cx="3570381" cy="11051"/>
          </a:xfrm>
          <a:prstGeom prst="straightConnector1">
            <a:avLst/>
          </a:prstGeom>
          <a:ln w="28575">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p:nvPr/>
        </p:nvCxnSpPr>
        <p:spPr>
          <a:xfrm flipV="1">
            <a:off x="1467993" y="3556496"/>
            <a:ext cx="2069107" cy="13941"/>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4515430" y="3831173"/>
            <a:ext cx="535796" cy="1"/>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1467993" y="4317051"/>
            <a:ext cx="701880" cy="10220"/>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3123299" y="4260003"/>
            <a:ext cx="423837" cy="5138"/>
          </a:xfrm>
          <a:prstGeom prst="straightConnector1">
            <a:avLst/>
          </a:prstGeom>
          <a:ln w="28575">
            <a:headEnd type="triangle"/>
            <a:tailEnd type="triangle"/>
          </a:ln>
        </p:spPr>
        <p:style>
          <a:lnRef idx="1">
            <a:schemeClr val="accent5"/>
          </a:lnRef>
          <a:fillRef idx="0">
            <a:schemeClr val="accent5"/>
          </a:fillRef>
          <a:effectRef idx="0">
            <a:schemeClr val="accent5"/>
          </a:effectRef>
          <a:fontRef idx="minor">
            <a:schemeClr val="tx1"/>
          </a:fontRef>
        </p:style>
      </p:cxnSp>
      <p:cxnSp>
        <p:nvCxnSpPr>
          <p:cNvPr id="27" name="Straight Arrow Connector 26"/>
          <p:cNvCxnSpPr/>
          <p:nvPr/>
        </p:nvCxnSpPr>
        <p:spPr>
          <a:xfrm flipV="1">
            <a:off x="1473598" y="5097994"/>
            <a:ext cx="695751" cy="1"/>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V="1">
            <a:off x="3132303" y="5097992"/>
            <a:ext cx="1906070" cy="11921"/>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rot="16200000">
            <a:off x="304794" y="2989340"/>
            <a:ext cx="1156735" cy="345163"/>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effectLst/>
                <a:uLnTx/>
                <a:uFillTx/>
                <a:latin typeface="Segoe UI"/>
                <a:ea typeface="+mn-ea"/>
                <a:cs typeface="+mn-cs"/>
              </a:rPr>
              <a:t>IP-capable</a:t>
            </a:r>
          </a:p>
        </p:txBody>
      </p:sp>
      <p:sp>
        <p:nvSpPr>
          <p:cNvPr id="36" name="TextBox 35"/>
          <p:cNvSpPr txBox="1"/>
          <p:nvPr/>
        </p:nvSpPr>
        <p:spPr>
          <a:xfrm rot="16200000">
            <a:off x="46207" y="4561334"/>
            <a:ext cx="1653017" cy="338426"/>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effectLst/>
                <a:uLnTx/>
                <a:uFillTx/>
                <a:latin typeface="Segoe UI"/>
                <a:ea typeface="+mn-ea"/>
                <a:cs typeface="+mn-cs"/>
              </a:rPr>
              <a:t>None IP-devices</a:t>
            </a:r>
          </a:p>
        </p:txBody>
      </p:sp>
      <p:sp>
        <p:nvSpPr>
          <p:cNvPr id="37" name="Rectangle 36"/>
          <p:cNvSpPr/>
          <p:nvPr/>
        </p:nvSpPr>
        <p:spPr>
          <a:xfrm>
            <a:off x="7856808" y="2530030"/>
            <a:ext cx="3116257" cy="1172901"/>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Event processing and insight</a:t>
            </a:r>
          </a:p>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e.g. hot and cold paths)</a:t>
            </a:r>
          </a:p>
        </p:txBody>
      </p:sp>
      <p:sp>
        <p:nvSpPr>
          <p:cNvPr id="51" name="Left-Right Arrow 50"/>
          <p:cNvSpPr/>
          <p:nvPr/>
        </p:nvSpPr>
        <p:spPr>
          <a:xfrm>
            <a:off x="7073138" y="4141158"/>
            <a:ext cx="593016" cy="451879"/>
          </a:xfrm>
          <a:prstGeom prst="leftRightArrow">
            <a:avLst>
              <a:gd name="adj1" fmla="val 37549"/>
              <a:gd name="adj2" fmla="val 31899"/>
            </a:avLst>
          </a:pr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eaLnBrk="1" fontAlgn="auto" hangingPunct="1">
              <a:spcBef>
                <a:spcPts val="0"/>
              </a:spcBef>
              <a:spcAft>
                <a:spcPts val="0"/>
              </a:spcAft>
            </a:pPr>
            <a:endParaRPr lang="en-US" sz="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8" name="Rectangle 77"/>
          <p:cNvSpPr/>
          <p:nvPr/>
        </p:nvSpPr>
        <p:spPr>
          <a:xfrm>
            <a:off x="7842369" y="3899358"/>
            <a:ext cx="3116256" cy="967237"/>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Device business logic,</a:t>
            </a:r>
          </a:p>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Connectivity monitoring</a:t>
            </a:r>
          </a:p>
        </p:txBody>
      </p:sp>
      <p:sp>
        <p:nvSpPr>
          <p:cNvPr id="83" name="Rectangle 82"/>
          <p:cNvSpPr/>
          <p:nvPr/>
        </p:nvSpPr>
        <p:spPr>
          <a:xfrm>
            <a:off x="7856808" y="5208642"/>
            <a:ext cx="3116256" cy="967237"/>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Application</a:t>
            </a:r>
          </a:p>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device provisioning and management</a:t>
            </a:r>
          </a:p>
        </p:txBody>
      </p:sp>
      <p:sp>
        <p:nvSpPr>
          <p:cNvPr id="95" name="TextBox 94"/>
          <p:cNvSpPr txBox="1"/>
          <p:nvPr/>
        </p:nvSpPr>
        <p:spPr>
          <a:xfrm>
            <a:off x="3292605" y="6180182"/>
            <a:ext cx="879373" cy="521303"/>
          </a:xfrm>
          <a:prstGeom prst="rect">
            <a:avLst/>
          </a:prstGeom>
          <a:noFill/>
        </p:spPr>
        <p:txBody>
          <a:bodyPr wrap="none" lIns="182854" tIns="146283" rIns="182854" bIns="146283"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599" b="0" i="0" u="none" strike="noStrike" kern="1200" cap="none" spc="0" normalizeH="0" baseline="0" noProof="0">
                <a:ln>
                  <a:noFill/>
                </a:ln>
                <a:effectLst/>
                <a:uLnTx/>
                <a:uFillTx/>
                <a:latin typeface="Segoe UI"/>
                <a:ea typeface="+mn-ea"/>
                <a:cs typeface="+mn-cs"/>
              </a:rPr>
              <a:t>cloud</a:t>
            </a:r>
          </a:p>
        </p:txBody>
      </p:sp>
      <p:sp>
        <p:nvSpPr>
          <p:cNvPr id="96" name="TextBox 95"/>
          <p:cNvSpPr txBox="1"/>
          <p:nvPr/>
        </p:nvSpPr>
        <p:spPr>
          <a:xfrm>
            <a:off x="2440821" y="6167974"/>
            <a:ext cx="768198" cy="521303"/>
          </a:xfrm>
          <a:prstGeom prst="rect">
            <a:avLst/>
          </a:prstGeom>
          <a:noFill/>
        </p:spPr>
        <p:txBody>
          <a:bodyPr wrap="none" lIns="182854" tIns="146283" rIns="182854" bIns="146283"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599" b="0" i="0" u="none" strike="noStrike" kern="1200" cap="none" spc="0" normalizeH="0" baseline="0" noProof="0" dirty="0">
                <a:ln>
                  <a:noFill/>
                </a:ln>
                <a:effectLst/>
                <a:uLnTx/>
                <a:uFillTx/>
                <a:latin typeface="Segoe UI"/>
                <a:ea typeface="+mn-ea"/>
                <a:cs typeface="+mn-cs"/>
              </a:rPr>
              <a:t>field</a:t>
            </a:r>
          </a:p>
        </p:txBody>
      </p:sp>
      <p:grpSp>
        <p:nvGrpSpPr>
          <p:cNvPr id="41" name="Group 40"/>
          <p:cNvGrpSpPr/>
          <p:nvPr/>
        </p:nvGrpSpPr>
        <p:grpSpPr>
          <a:xfrm>
            <a:off x="1133890" y="3399720"/>
            <a:ext cx="313475" cy="314090"/>
            <a:chOff x="609600" y="502508"/>
            <a:chExt cx="395416" cy="395416"/>
          </a:xfrm>
        </p:grpSpPr>
        <p:sp>
          <p:nvSpPr>
            <p:cNvPr id="42" name="Rectangle 41"/>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43"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14" tIns="45707" rIns="91414" bIns="45707" numCol="1" anchor="t" anchorCtr="0" compatLnSpc="1">
              <a:prstTxWarp prst="textNoShape">
                <a:avLst/>
              </a:prstTxWarp>
            </a:bodyPr>
            <a:lstStyle/>
            <a:p>
              <a:pPr marL="0" marR="0" lvl="0" indent="0" algn="l" defTabSz="685214" rtl="0" eaLnBrk="1" fontAlgn="auto" latinLnBrk="0" hangingPunct="1">
                <a:lnSpc>
                  <a:spcPct val="100000"/>
                </a:lnSpc>
                <a:spcBef>
                  <a:spcPts val="0"/>
                </a:spcBef>
                <a:spcAft>
                  <a:spcPts val="0"/>
                </a:spcAft>
                <a:buClrTx/>
                <a:buSzTx/>
                <a:buFontTx/>
                <a:buNone/>
                <a:tabLst/>
                <a:defRPr/>
              </a:pPr>
              <a:endParaRPr kumimoji="0" lang="en-US" sz="1399"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44" name="Group 43"/>
          <p:cNvGrpSpPr/>
          <p:nvPr/>
        </p:nvGrpSpPr>
        <p:grpSpPr>
          <a:xfrm>
            <a:off x="1127365" y="4159884"/>
            <a:ext cx="313475" cy="314090"/>
            <a:chOff x="609600" y="502508"/>
            <a:chExt cx="395416" cy="395416"/>
          </a:xfrm>
        </p:grpSpPr>
        <p:sp>
          <p:nvSpPr>
            <p:cNvPr id="45" name="Rectangle 44"/>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46"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14" tIns="45707" rIns="91414" bIns="45707" numCol="1" anchor="t" anchorCtr="0" compatLnSpc="1">
              <a:prstTxWarp prst="textNoShape">
                <a:avLst/>
              </a:prstTxWarp>
            </a:bodyPr>
            <a:lstStyle/>
            <a:p>
              <a:pPr marL="0" marR="0" lvl="0" indent="0" algn="l" defTabSz="685214" rtl="0" eaLnBrk="1" fontAlgn="auto" latinLnBrk="0" hangingPunct="1">
                <a:lnSpc>
                  <a:spcPct val="100000"/>
                </a:lnSpc>
                <a:spcBef>
                  <a:spcPts val="0"/>
                </a:spcBef>
                <a:spcAft>
                  <a:spcPts val="0"/>
                </a:spcAft>
                <a:buClrTx/>
                <a:buSzTx/>
                <a:buFontTx/>
                <a:buNone/>
                <a:tabLst/>
                <a:defRPr/>
              </a:pPr>
              <a:endParaRPr kumimoji="0" lang="en-US" sz="1399"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47" name="Group 46"/>
          <p:cNvGrpSpPr/>
          <p:nvPr/>
        </p:nvGrpSpPr>
        <p:grpSpPr>
          <a:xfrm>
            <a:off x="1124782" y="4952869"/>
            <a:ext cx="313475" cy="314090"/>
            <a:chOff x="609600" y="502508"/>
            <a:chExt cx="395416" cy="395416"/>
          </a:xfrm>
        </p:grpSpPr>
        <p:sp>
          <p:nvSpPr>
            <p:cNvPr id="48" name="Rectangle 47"/>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49"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14" tIns="45707" rIns="91414" bIns="45707" numCol="1" anchor="t" anchorCtr="0" compatLnSpc="1">
              <a:prstTxWarp prst="textNoShape">
                <a:avLst/>
              </a:prstTxWarp>
            </a:bodyPr>
            <a:lstStyle/>
            <a:p>
              <a:pPr marL="0" marR="0" lvl="0" indent="0" algn="l" defTabSz="685214" rtl="0" eaLnBrk="1" fontAlgn="auto" latinLnBrk="0" hangingPunct="1">
                <a:lnSpc>
                  <a:spcPct val="100000"/>
                </a:lnSpc>
                <a:spcBef>
                  <a:spcPts val="0"/>
                </a:spcBef>
                <a:spcAft>
                  <a:spcPts val="0"/>
                </a:spcAft>
                <a:buClrTx/>
                <a:buSzTx/>
                <a:buFontTx/>
                <a:buNone/>
                <a:tabLst/>
                <a:defRPr/>
              </a:pPr>
              <a:endParaRPr kumimoji="0" lang="en-US" sz="1399" b="0" i="0" u="none" strike="noStrike" kern="1200" cap="none" spc="0" normalizeH="0" baseline="0" noProof="0">
                <a:ln>
                  <a:noFill/>
                </a:ln>
                <a:solidFill>
                  <a:prstClr val="white"/>
                </a:solidFill>
                <a:effectLst/>
                <a:uLnTx/>
                <a:uFillTx/>
                <a:latin typeface="Segoe UI"/>
                <a:ea typeface="+mn-ea"/>
                <a:cs typeface="+mn-cs"/>
              </a:endParaRPr>
            </a:p>
          </p:txBody>
        </p:sp>
      </p:grpSp>
      <p:sp>
        <p:nvSpPr>
          <p:cNvPr id="39" name="Left-Right Arrow 38"/>
          <p:cNvSpPr/>
          <p:nvPr/>
        </p:nvSpPr>
        <p:spPr>
          <a:xfrm>
            <a:off x="7088245" y="5388744"/>
            <a:ext cx="593016" cy="451879"/>
          </a:xfrm>
          <a:prstGeom prst="leftRightArrow">
            <a:avLst>
              <a:gd name="adj1" fmla="val 37549"/>
              <a:gd name="adj2" fmla="val 31899"/>
            </a:avLst>
          </a:pr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eaLnBrk="1" fontAlgn="auto" hangingPunct="1">
              <a:spcBef>
                <a:spcPts val="0"/>
              </a:spcBef>
              <a:spcAft>
                <a:spcPts val="0"/>
              </a:spcAft>
            </a:pPr>
            <a:endParaRPr lang="en-US" sz="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Left-Right Arrow 39"/>
          <p:cNvSpPr/>
          <p:nvPr/>
        </p:nvSpPr>
        <p:spPr>
          <a:xfrm>
            <a:off x="7088244" y="2890042"/>
            <a:ext cx="593016" cy="451879"/>
          </a:xfrm>
          <a:prstGeom prst="leftRightArrow">
            <a:avLst>
              <a:gd name="adj1" fmla="val 37549"/>
              <a:gd name="adj2" fmla="val 31899"/>
            </a:avLst>
          </a:pr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eaLnBrk="1" fontAlgn="auto" hangingPunct="1">
              <a:spcBef>
                <a:spcPts val="0"/>
              </a:spcBef>
              <a:spcAft>
                <a:spcPts val="0"/>
              </a:spcAft>
            </a:pPr>
            <a:endParaRPr lang="en-US" sz="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Frame 5"/>
          <p:cNvSpPr>
            <a:spLocks noChangeAspect="1"/>
          </p:cNvSpPr>
          <p:nvPr/>
        </p:nvSpPr>
        <p:spPr bwMode="auto">
          <a:xfrm>
            <a:off x="2369450" y="410777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Group 4"/>
          <p:cNvGrpSpPr/>
          <p:nvPr/>
        </p:nvGrpSpPr>
        <p:grpSpPr>
          <a:xfrm>
            <a:off x="10239295" y="5333142"/>
            <a:ext cx="425518" cy="422851"/>
            <a:chOff x="13858399" y="2733933"/>
            <a:chExt cx="425518" cy="422851"/>
          </a:xfrm>
        </p:grpSpPr>
        <p:grpSp>
          <p:nvGrpSpPr>
            <p:cNvPr id="141" name="Group 140"/>
            <p:cNvGrpSpPr/>
            <p:nvPr/>
          </p:nvGrpSpPr>
          <p:grpSpPr>
            <a:xfrm>
              <a:off x="13858399" y="2733933"/>
              <a:ext cx="425518" cy="422851"/>
              <a:chOff x="7536568" y="3223995"/>
              <a:chExt cx="617962" cy="614088"/>
            </a:xfrm>
          </p:grpSpPr>
          <p:sp>
            <p:nvSpPr>
              <p:cNvPr id="142" name="Freeform 141"/>
              <p:cNvSpPr/>
              <p:nvPr/>
            </p:nvSpPr>
            <p:spPr bwMode="auto">
              <a:xfrm>
                <a:off x="7536568" y="3293206"/>
                <a:ext cx="617962" cy="544877"/>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Freeform 142"/>
              <p:cNvSpPr/>
              <p:nvPr/>
            </p:nvSpPr>
            <p:spPr bwMode="auto">
              <a:xfrm>
                <a:off x="7903231" y="3223995"/>
                <a:ext cx="205183" cy="294392"/>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183" h="294392">
                    <a:moveTo>
                      <a:pt x="98131" y="0"/>
                    </a:moveTo>
                    <a:lnTo>
                      <a:pt x="0" y="165038"/>
                    </a:lnTo>
                    <a:lnTo>
                      <a:pt x="93671" y="165038"/>
                    </a:lnTo>
                    <a:lnTo>
                      <a:pt x="17842" y="294392"/>
                    </a:lnTo>
                    <a:lnTo>
                      <a:pt x="205183" y="120433"/>
                    </a:lnTo>
                    <a:lnTo>
                      <a:pt x="124894" y="115972"/>
                    </a:lnTo>
                    <a:lnTo>
                      <a:pt x="196262" y="13381"/>
                    </a:lnTo>
                    <a:lnTo>
                      <a:pt x="98131"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44" name="Freeform 143"/>
            <p:cNvSpPr/>
            <p:nvPr/>
          </p:nvSpPr>
          <p:spPr bwMode="auto">
            <a:xfrm>
              <a:off x="14119326" y="2749359"/>
              <a:ext cx="122921" cy="171712"/>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 name="connsiteX0" fmla="*/ 98131 w 223336"/>
                <a:gd name="connsiteY0" fmla="*/ 0 h 294392"/>
                <a:gd name="connsiteX1" fmla="*/ 0 w 223336"/>
                <a:gd name="connsiteY1" fmla="*/ 165038 h 294392"/>
                <a:gd name="connsiteX2" fmla="*/ 93671 w 223336"/>
                <a:gd name="connsiteY2" fmla="*/ 165038 h 294392"/>
                <a:gd name="connsiteX3" fmla="*/ 17842 w 223336"/>
                <a:gd name="connsiteY3" fmla="*/ 294392 h 294392"/>
                <a:gd name="connsiteX4" fmla="*/ 223336 w 223336"/>
                <a:gd name="connsiteY4" fmla="*/ 123197 h 294392"/>
                <a:gd name="connsiteX5" fmla="*/ 124894 w 223336"/>
                <a:gd name="connsiteY5" fmla="*/ 115972 h 294392"/>
                <a:gd name="connsiteX6" fmla="*/ 196262 w 223336"/>
                <a:gd name="connsiteY6" fmla="*/ 13381 h 294392"/>
                <a:gd name="connsiteX7" fmla="*/ 98131 w 223336"/>
                <a:gd name="connsiteY7" fmla="*/ 0 h 294392"/>
                <a:gd name="connsiteX0" fmla="*/ 98131 w 223336"/>
                <a:gd name="connsiteY0" fmla="*/ 0 h 298077"/>
                <a:gd name="connsiteX1" fmla="*/ 0 w 223336"/>
                <a:gd name="connsiteY1" fmla="*/ 165038 h 298077"/>
                <a:gd name="connsiteX2" fmla="*/ 93671 w 223336"/>
                <a:gd name="connsiteY2" fmla="*/ 165038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09912 w 223336"/>
                <a:gd name="connsiteY2" fmla="*/ 163196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19466 w 223336"/>
                <a:gd name="connsiteY2" fmla="*/ 165039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4 w 223336"/>
                <a:gd name="connsiteY5" fmla="*/ 115972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3 w 223336"/>
                <a:gd name="connsiteY5" fmla="*/ 117815 h 300841"/>
                <a:gd name="connsiteX6" fmla="*/ 196262 w 223336"/>
                <a:gd name="connsiteY6" fmla="*/ 13381 h 300841"/>
                <a:gd name="connsiteX7" fmla="*/ 98131 w 223336"/>
                <a:gd name="connsiteY7" fmla="*/ 0 h 30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336" h="300841">
                  <a:moveTo>
                    <a:pt x="98131" y="0"/>
                  </a:moveTo>
                  <a:lnTo>
                    <a:pt x="0" y="165038"/>
                  </a:lnTo>
                  <a:lnTo>
                    <a:pt x="119466" y="165039"/>
                  </a:lnTo>
                  <a:lnTo>
                    <a:pt x="28351" y="300841"/>
                  </a:lnTo>
                  <a:lnTo>
                    <a:pt x="223336" y="123197"/>
                  </a:lnTo>
                  <a:lnTo>
                    <a:pt x="124893" y="117815"/>
                  </a:lnTo>
                  <a:lnTo>
                    <a:pt x="196262" y="13381"/>
                  </a:lnTo>
                  <a:lnTo>
                    <a:pt x="98131" y="0"/>
                  </a:lnTo>
                  <a:close/>
                </a:path>
              </a:pathLst>
            </a:cu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 name="Group 12"/>
          <p:cNvGrpSpPr/>
          <p:nvPr/>
        </p:nvGrpSpPr>
        <p:grpSpPr>
          <a:xfrm>
            <a:off x="10079835" y="4012100"/>
            <a:ext cx="665860" cy="580576"/>
            <a:chOff x="10444863" y="4012100"/>
            <a:chExt cx="665860" cy="580576"/>
          </a:xfrm>
        </p:grpSpPr>
        <p:sp>
          <p:nvSpPr>
            <p:cNvPr id="159" name="Freeform 158"/>
            <p:cNvSpPr>
              <a:spLocks noEditPoints="1"/>
            </p:cNvSpPr>
            <p:nvPr/>
          </p:nvSpPr>
          <p:spPr bwMode="auto">
            <a:xfrm>
              <a:off x="10444863" y="4012100"/>
              <a:ext cx="428972" cy="431004"/>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2" name="Freeform 161"/>
            <p:cNvSpPr>
              <a:spLocks noEditPoints="1"/>
            </p:cNvSpPr>
            <p:nvPr/>
          </p:nvSpPr>
          <p:spPr bwMode="auto">
            <a:xfrm>
              <a:off x="10848628" y="4056299"/>
              <a:ext cx="262095" cy="263336"/>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Freeform 162"/>
            <p:cNvSpPr>
              <a:spLocks noEditPoints="1"/>
            </p:cNvSpPr>
            <p:nvPr/>
          </p:nvSpPr>
          <p:spPr bwMode="auto">
            <a:xfrm>
              <a:off x="10744655" y="4276436"/>
              <a:ext cx="314749" cy="31624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1" name="Group 180"/>
          <p:cNvGrpSpPr/>
          <p:nvPr/>
        </p:nvGrpSpPr>
        <p:grpSpPr>
          <a:xfrm>
            <a:off x="3635976" y="3140988"/>
            <a:ext cx="782946" cy="489587"/>
            <a:chOff x="7966852" y="2699664"/>
            <a:chExt cx="782946" cy="489587"/>
          </a:xfrm>
        </p:grpSpPr>
        <p:sp>
          <p:nvSpPr>
            <p:cNvPr id="182" name="Freeform 181"/>
            <p:cNvSpPr>
              <a:spLocks noChangeAspect="1"/>
            </p:cNvSpPr>
            <p:nvPr/>
          </p:nvSpPr>
          <p:spPr bwMode="auto">
            <a:xfrm>
              <a:off x="7966852" y="2699664"/>
              <a:ext cx="782946" cy="489587"/>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gradFill flip="none" rotWithShape="1">
                <a:gsLst>
                  <a:gs pos="50000">
                    <a:srgbClr val="5EB6DA"/>
                  </a:gs>
                  <a:gs pos="50000">
                    <a:srgbClr val="3999C6"/>
                  </a:gs>
                </a:gsLst>
                <a:lin ang="8100000" scaled="1"/>
                <a:tileRect/>
              </a:gradFill>
            </a:ln>
            <a:extLst>
              <a:ext uri="{91240B29-F687-4f45-9708-019B960494DF}">
                <a14:hiddenLine xmlns=""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marL="0" marR="0" lvl="0" indent="0" algn="ctr" defTabSz="932742" rtl="0" eaLnBrk="1" fontAlgn="auto" latinLnBrk="0" hangingPunct="1">
                <a:lnSpc>
                  <a:spcPct val="80000"/>
                </a:lnSpc>
                <a:spcBef>
                  <a:spcPts val="0"/>
                </a:spcBef>
                <a:spcAft>
                  <a:spcPts val="0"/>
                </a:spcAft>
                <a:buClrTx/>
                <a:buSzTx/>
                <a:buFontTx/>
                <a:buNone/>
                <a:tabLst/>
                <a:defRPr/>
              </a:pPr>
              <a:endParaRPr kumimoji="0" lang="en-US" sz="4400" b="0" i="0" u="none" strike="noStrike" kern="1200" cap="none" spc="-150" normalizeH="0" baseline="0" noProof="0">
                <a:ln>
                  <a:noFill/>
                </a:ln>
                <a:solidFill>
                  <a:srgbClr val="FFFFFF"/>
                </a:solidFill>
                <a:effectLst/>
                <a:uLnTx/>
                <a:uFillTx/>
                <a:latin typeface="Segoe UI Light"/>
                <a:ea typeface="+mn-ea"/>
                <a:cs typeface="+mn-cs"/>
              </a:endParaRPr>
            </a:p>
          </p:txBody>
        </p:sp>
        <p:grpSp>
          <p:nvGrpSpPr>
            <p:cNvPr id="183" name="Group 182"/>
            <p:cNvGrpSpPr/>
            <p:nvPr/>
          </p:nvGrpSpPr>
          <p:grpSpPr>
            <a:xfrm>
              <a:off x="8188271" y="2851116"/>
              <a:ext cx="257445" cy="288170"/>
              <a:chOff x="3876323" y="2412935"/>
              <a:chExt cx="981584" cy="1503227"/>
            </a:xfrm>
          </p:grpSpPr>
          <p:grpSp>
            <p:nvGrpSpPr>
              <p:cNvPr id="184" name="Group 183"/>
              <p:cNvGrpSpPr/>
              <p:nvPr/>
            </p:nvGrpSpPr>
            <p:grpSpPr>
              <a:xfrm>
                <a:off x="4075337" y="2655193"/>
                <a:ext cx="640701" cy="978962"/>
                <a:chOff x="3978978" y="2691315"/>
                <a:chExt cx="745467" cy="1374671"/>
              </a:xfrm>
            </p:grpSpPr>
            <p:sp>
              <p:nvSpPr>
                <p:cNvPr id="187" name="Rectangle 186"/>
                <p:cNvSpPr/>
                <p:nvPr>
                  <p:custDataLst>
                    <p:tags r:id="rId1"/>
                  </p:custDataLst>
                </p:nvPr>
              </p:nvSpPr>
              <p:spPr bwMode="auto">
                <a:xfrm>
                  <a:off x="3978978" y="269131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88" name="Rectangle 187"/>
                <p:cNvSpPr/>
                <p:nvPr>
                  <p:custDataLst>
                    <p:tags r:id="rId2"/>
                  </p:custDataLst>
                </p:nvPr>
              </p:nvSpPr>
              <p:spPr bwMode="auto">
                <a:xfrm>
                  <a:off x="4269686" y="2945333"/>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89" name="Rectangle 188"/>
                <p:cNvSpPr/>
                <p:nvPr>
                  <p:custDataLst>
                    <p:tags r:id="rId3"/>
                  </p:custDataLst>
                </p:nvPr>
              </p:nvSpPr>
              <p:spPr bwMode="auto">
                <a:xfrm>
                  <a:off x="3978978" y="3195771"/>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6" name="Rectangle 195"/>
                <p:cNvSpPr/>
                <p:nvPr>
                  <p:custDataLst>
                    <p:tags r:id="rId4"/>
                  </p:custDataLst>
                </p:nvPr>
              </p:nvSpPr>
              <p:spPr bwMode="auto">
                <a:xfrm>
                  <a:off x="4269686" y="3482449"/>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7" name="Rectangle 196"/>
                <p:cNvSpPr/>
                <p:nvPr>
                  <p:custDataLst>
                    <p:tags r:id="rId5"/>
                  </p:custDataLst>
                </p:nvPr>
              </p:nvSpPr>
              <p:spPr bwMode="auto">
                <a:xfrm>
                  <a:off x="3978978" y="3700226"/>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8" name="Rectangle 197"/>
                <p:cNvSpPr/>
                <p:nvPr>
                  <p:custDataLst>
                    <p:tags r:id="rId6"/>
                  </p:custDataLst>
                </p:nvPr>
              </p:nvSpPr>
              <p:spPr bwMode="auto">
                <a:xfrm>
                  <a:off x="4541565" y="319435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185" name="Freeform 184"/>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6" name="Freeform 185"/>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sp>
        <p:nvSpPr>
          <p:cNvPr id="4" name="IoT"/>
          <p:cNvSpPr/>
          <p:nvPr/>
        </p:nvSpPr>
        <p:spPr>
          <a:xfrm>
            <a:off x="5058906" y="2429041"/>
            <a:ext cx="1782316" cy="372639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t"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IoT Hub</a:t>
            </a:r>
          </a:p>
        </p:txBody>
      </p:sp>
      <p:sp>
        <p:nvSpPr>
          <p:cNvPr id="61" name="Freeform 60"/>
          <p:cNvSpPr>
            <a:spLocks noChangeAspect="1"/>
          </p:cNvSpPr>
          <p:nvPr/>
        </p:nvSpPr>
        <p:spPr bwMode="auto">
          <a:xfrm rot="5280000">
            <a:off x="5534908" y="3764342"/>
            <a:ext cx="830312" cy="1055797"/>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gradFill>
            <a:gsLst>
              <a:gs pos="50000">
                <a:srgbClr val="5EB6DA"/>
              </a:gs>
              <a:gs pos="50000">
                <a:srgbClr val="3999C6"/>
              </a:gs>
            </a:gsLst>
            <a:lin ang="60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eaLnBrk="1" fontAlgn="auto" hangingPunct="1">
              <a:spcBef>
                <a:spcPts val="0"/>
              </a:spcBef>
              <a:spcAft>
                <a:spcPts val="0"/>
              </a:spcAft>
            </a:pPr>
            <a:endParaRPr lang="en-US"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6" name="Group 15"/>
          <p:cNvGrpSpPr/>
          <p:nvPr/>
        </p:nvGrpSpPr>
        <p:grpSpPr>
          <a:xfrm>
            <a:off x="9510041" y="2602013"/>
            <a:ext cx="1428873" cy="804372"/>
            <a:chOff x="7650446" y="2688141"/>
            <a:chExt cx="1802656" cy="1014790"/>
          </a:xfrm>
        </p:grpSpPr>
        <p:grpSp>
          <p:nvGrpSpPr>
            <p:cNvPr id="14" name="Group 13"/>
            <p:cNvGrpSpPr/>
            <p:nvPr/>
          </p:nvGrpSpPr>
          <p:grpSpPr>
            <a:xfrm>
              <a:off x="9072476" y="2927577"/>
              <a:ext cx="380626" cy="116486"/>
              <a:chOff x="9320007" y="2938754"/>
              <a:chExt cx="380626" cy="116486"/>
            </a:xfrm>
          </p:grpSpPr>
          <p:sp>
            <p:nvSpPr>
              <p:cNvPr id="111" name="TextBox 110"/>
              <p:cNvSpPr txBox="1"/>
              <p:nvPr/>
            </p:nvSpPr>
            <p:spPr>
              <a:xfrm>
                <a:off x="9320007"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1</a:t>
                </a:r>
              </a:p>
            </p:txBody>
          </p:sp>
          <p:sp>
            <p:nvSpPr>
              <p:cNvPr id="112" name="TextBox 111"/>
              <p:cNvSpPr txBox="1"/>
              <p:nvPr/>
            </p:nvSpPr>
            <p:spPr>
              <a:xfrm>
                <a:off x="9384403"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0</a:t>
                </a:r>
              </a:p>
            </p:txBody>
          </p:sp>
          <p:sp>
            <p:nvSpPr>
              <p:cNvPr id="113" name="TextBox 112"/>
              <p:cNvSpPr txBox="1"/>
              <p:nvPr/>
            </p:nvSpPr>
            <p:spPr>
              <a:xfrm>
                <a:off x="9577587"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1</a:t>
                </a:r>
              </a:p>
            </p:txBody>
          </p:sp>
          <p:sp>
            <p:nvSpPr>
              <p:cNvPr id="114" name="TextBox 113"/>
              <p:cNvSpPr txBox="1"/>
              <p:nvPr/>
            </p:nvSpPr>
            <p:spPr>
              <a:xfrm>
                <a:off x="9448796"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0</a:t>
                </a:r>
              </a:p>
            </p:txBody>
          </p:sp>
          <p:sp>
            <p:nvSpPr>
              <p:cNvPr id="115" name="TextBox 114"/>
              <p:cNvSpPr txBox="1"/>
              <p:nvPr/>
            </p:nvSpPr>
            <p:spPr>
              <a:xfrm>
                <a:off x="9513192"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1</a:t>
                </a:r>
              </a:p>
            </p:txBody>
          </p:sp>
          <p:sp>
            <p:nvSpPr>
              <p:cNvPr id="116" name="TextBox 115"/>
              <p:cNvSpPr txBox="1"/>
              <p:nvPr/>
            </p:nvSpPr>
            <p:spPr>
              <a:xfrm>
                <a:off x="9641984"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0</a:t>
                </a:r>
              </a:p>
            </p:txBody>
          </p:sp>
        </p:grpSp>
        <p:sp>
          <p:nvSpPr>
            <p:cNvPr id="62" name="Oval 61"/>
            <p:cNvSpPr/>
            <p:nvPr/>
          </p:nvSpPr>
          <p:spPr>
            <a:xfrm>
              <a:off x="8357126" y="2835911"/>
              <a:ext cx="126420" cy="336523"/>
            </a:xfrm>
            <a:prstGeom prst="ellipse">
              <a:avLst/>
            </a:prstGeom>
            <a:solidFill>
              <a:srgbClr val="3E3E3E"/>
            </a:solidFill>
            <a:ln w="3175">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rgbClr val="B9D80A"/>
                </a:solidFill>
                <a:latin typeface="OCR A Extended" panose="02010509020102010303" pitchFamily="50" charset="0"/>
              </a:endParaRPr>
            </a:p>
          </p:txBody>
        </p:sp>
        <p:sp>
          <p:nvSpPr>
            <p:cNvPr id="63" name="Donut 20"/>
            <p:cNvSpPr/>
            <p:nvPr/>
          </p:nvSpPr>
          <p:spPr>
            <a:xfrm>
              <a:off x="8863597" y="2759551"/>
              <a:ext cx="311280" cy="479652"/>
            </a:xfrm>
            <a:custGeom>
              <a:avLst/>
              <a:gdLst>
                <a:gd name="connsiteX0" fmla="*/ 0 w 564776"/>
                <a:gd name="connsiteY0" fmla="*/ 773141 h 1546282"/>
                <a:gd name="connsiteX1" fmla="*/ 282388 w 564776"/>
                <a:gd name="connsiteY1" fmla="*/ 0 h 1546282"/>
                <a:gd name="connsiteX2" fmla="*/ 564776 w 564776"/>
                <a:gd name="connsiteY2" fmla="*/ 773141 h 1546282"/>
                <a:gd name="connsiteX3" fmla="*/ 282388 w 564776"/>
                <a:gd name="connsiteY3" fmla="*/ 1546282 h 1546282"/>
                <a:gd name="connsiteX4" fmla="*/ 0 w 564776"/>
                <a:gd name="connsiteY4" fmla="*/ 773141 h 1546282"/>
                <a:gd name="connsiteX5" fmla="*/ 141194 w 564776"/>
                <a:gd name="connsiteY5" fmla="*/ 773141 h 1546282"/>
                <a:gd name="connsiteX6" fmla="*/ 282388 w 564776"/>
                <a:gd name="connsiteY6" fmla="*/ 1405088 h 1546282"/>
                <a:gd name="connsiteX7" fmla="*/ 423582 w 564776"/>
                <a:gd name="connsiteY7" fmla="*/ 773141 h 1546282"/>
                <a:gd name="connsiteX8" fmla="*/ 282388 w 564776"/>
                <a:gd name="connsiteY8" fmla="*/ 141194 h 1546282"/>
                <a:gd name="connsiteX9" fmla="*/ 141194 w 564776"/>
                <a:gd name="connsiteY9" fmla="*/ 773141 h 1546282"/>
                <a:gd name="connsiteX0" fmla="*/ 0 w 1021976"/>
                <a:gd name="connsiteY0" fmla="*/ 773388 h 1546735"/>
                <a:gd name="connsiteX1" fmla="*/ 282388 w 1021976"/>
                <a:gd name="connsiteY1" fmla="*/ 247 h 1546735"/>
                <a:gd name="connsiteX2" fmla="*/ 1021976 w 1021976"/>
                <a:gd name="connsiteY2" fmla="*/ 713230 h 1546735"/>
                <a:gd name="connsiteX3" fmla="*/ 282388 w 1021976"/>
                <a:gd name="connsiteY3" fmla="*/ 1546529 h 1546735"/>
                <a:gd name="connsiteX4" fmla="*/ 0 w 1021976"/>
                <a:gd name="connsiteY4" fmla="*/ 773388 h 1546735"/>
                <a:gd name="connsiteX5" fmla="*/ 141194 w 1021976"/>
                <a:gd name="connsiteY5" fmla="*/ 773388 h 1546735"/>
                <a:gd name="connsiteX6" fmla="*/ 282388 w 1021976"/>
                <a:gd name="connsiteY6" fmla="*/ 1405335 h 1546735"/>
                <a:gd name="connsiteX7" fmla="*/ 423582 w 1021976"/>
                <a:gd name="connsiteY7" fmla="*/ 773388 h 1546735"/>
                <a:gd name="connsiteX8" fmla="*/ 282388 w 1021976"/>
                <a:gd name="connsiteY8" fmla="*/ 141441 h 1546735"/>
                <a:gd name="connsiteX9" fmla="*/ 141194 w 1021976"/>
                <a:gd name="connsiteY9" fmla="*/ 773388 h 1546735"/>
                <a:gd name="connsiteX0" fmla="*/ 0 w 1030213"/>
                <a:gd name="connsiteY0" fmla="*/ 812464 h 1585811"/>
                <a:gd name="connsiteX1" fmla="*/ 282388 w 1030213"/>
                <a:gd name="connsiteY1" fmla="*/ 39323 h 1585811"/>
                <a:gd name="connsiteX2" fmla="*/ 655149 w 1030213"/>
                <a:gd name="connsiteY2" fmla="*/ 179798 h 1585811"/>
                <a:gd name="connsiteX3" fmla="*/ 1021976 w 1030213"/>
                <a:gd name="connsiteY3" fmla="*/ 752306 h 1585811"/>
                <a:gd name="connsiteX4" fmla="*/ 282388 w 1030213"/>
                <a:gd name="connsiteY4" fmla="*/ 1585605 h 1585811"/>
                <a:gd name="connsiteX5" fmla="*/ 0 w 1030213"/>
                <a:gd name="connsiteY5" fmla="*/ 812464 h 1585811"/>
                <a:gd name="connsiteX6" fmla="*/ 141194 w 1030213"/>
                <a:gd name="connsiteY6" fmla="*/ 812464 h 1585811"/>
                <a:gd name="connsiteX7" fmla="*/ 282388 w 1030213"/>
                <a:gd name="connsiteY7" fmla="*/ 1444411 h 1585811"/>
                <a:gd name="connsiteX8" fmla="*/ 423582 w 1030213"/>
                <a:gd name="connsiteY8" fmla="*/ 812464 h 1585811"/>
                <a:gd name="connsiteX9" fmla="*/ 282388 w 1030213"/>
                <a:gd name="connsiteY9" fmla="*/ 180517 h 1585811"/>
                <a:gd name="connsiteX10" fmla="*/ 141194 w 1030213"/>
                <a:gd name="connsiteY10" fmla="*/ 812464 h 1585811"/>
                <a:gd name="connsiteX0" fmla="*/ 0 w 1041870"/>
                <a:gd name="connsiteY0" fmla="*/ 870483 h 1643830"/>
                <a:gd name="connsiteX1" fmla="*/ 282388 w 1041870"/>
                <a:gd name="connsiteY1" fmla="*/ 97342 h 1643830"/>
                <a:gd name="connsiteX2" fmla="*/ 783485 w 1041870"/>
                <a:gd name="connsiteY2" fmla="*/ 89427 h 1643830"/>
                <a:gd name="connsiteX3" fmla="*/ 1021976 w 1041870"/>
                <a:gd name="connsiteY3" fmla="*/ 810325 h 1643830"/>
                <a:gd name="connsiteX4" fmla="*/ 282388 w 1041870"/>
                <a:gd name="connsiteY4" fmla="*/ 1643624 h 1643830"/>
                <a:gd name="connsiteX5" fmla="*/ 0 w 1041870"/>
                <a:gd name="connsiteY5" fmla="*/ 870483 h 1643830"/>
                <a:gd name="connsiteX6" fmla="*/ 141194 w 1041870"/>
                <a:gd name="connsiteY6" fmla="*/ 870483 h 1643830"/>
                <a:gd name="connsiteX7" fmla="*/ 282388 w 1041870"/>
                <a:gd name="connsiteY7" fmla="*/ 1502430 h 1643830"/>
                <a:gd name="connsiteX8" fmla="*/ 423582 w 1041870"/>
                <a:gd name="connsiteY8" fmla="*/ 870483 h 1643830"/>
                <a:gd name="connsiteX9" fmla="*/ 282388 w 1041870"/>
                <a:gd name="connsiteY9" fmla="*/ 238536 h 1643830"/>
                <a:gd name="connsiteX10" fmla="*/ 141194 w 1041870"/>
                <a:gd name="connsiteY10" fmla="*/ 870483 h 1643830"/>
                <a:gd name="connsiteX0" fmla="*/ 0 w 1024083"/>
                <a:gd name="connsiteY0" fmla="*/ 870483 h 1658092"/>
                <a:gd name="connsiteX1" fmla="*/ 282388 w 1024083"/>
                <a:gd name="connsiteY1" fmla="*/ 97342 h 1658092"/>
                <a:gd name="connsiteX2" fmla="*/ 783485 w 1024083"/>
                <a:gd name="connsiteY2" fmla="*/ 89427 h 1658092"/>
                <a:gd name="connsiteX3" fmla="*/ 1021976 w 1024083"/>
                <a:gd name="connsiteY3" fmla="*/ 810325 h 1658092"/>
                <a:gd name="connsiteX4" fmla="*/ 659158 w 1024083"/>
                <a:gd name="connsiteY4" fmla="*/ 1332691 h 1658092"/>
                <a:gd name="connsiteX5" fmla="*/ 282388 w 1024083"/>
                <a:gd name="connsiteY5" fmla="*/ 1643624 h 1658092"/>
                <a:gd name="connsiteX6" fmla="*/ 0 w 1024083"/>
                <a:gd name="connsiteY6" fmla="*/ 870483 h 1658092"/>
                <a:gd name="connsiteX7" fmla="*/ 141194 w 1024083"/>
                <a:gd name="connsiteY7" fmla="*/ 870483 h 1658092"/>
                <a:gd name="connsiteX8" fmla="*/ 282388 w 1024083"/>
                <a:gd name="connsiteY8" fmla="*/ 1502430 h 1658092"/>
                <a:gd name="connsiteX9" fmla="*/ 423582 w 1024083"/>
                <a:gd name="connsiteY9" fmla="*/ 870483 h 1658092"/>
                <a:gd name="connsiteX10" fmla="*/ 282388 w 1024083"/>
                <a:gd name="connsiteY10" fmla="*/ 238536 h 1658092"/>
                <a:gd name="connsiteX11" fmla="*/ 141194 w 1024083"/>
                <a:gd name="connsiteY11" fmla="*/ 870483 h 1658092"/>
                <a:gd name="connsiteX0" fmla="*/ 0 w 1059520"/>
                <a:gd name="connsiteY0" fmla="*/ 870483 h 1709542"/>
                <a:gd name="connsiteX1" fmla="*/ 282388 w 1059520"/>
                <a:gd name="connsiteY1" fmla="*/ 97342 h 1709542"/>
                <a:gd name="connsiteX2" fmla="*/ 783485 w 1059520"/>
                <a:gd name="connsiteY2" fmla="*/ 89427 h 1709542"/>
                <a:gd name="connsiteX3" fmla="*/ 1021976 w 1059520"/>
                <a:gd name="connsiteY3" fmla="*/ 810325 h 1709542"/>
                <a:gd name="connsiteX4" fmla="*/ 980000 w 1059520"/>
                <a:gd name="connsiteY4" fmla="*/ 1573322 h 1709542"/>
                <a:gd name="connsiteX5" fmla="*/ 282388 w 1059520"/>
                <a:gd name="connsiteY5" fmla="*/ 1643624 h 1709542"/>
                <a:gd name="connsiteX6" fmla="*/ 0 w 1059520"/>
                <a:gd name="connsiteY6" fmla="*/ 870483 h 1709542"/>
                <a:gd name="connsiteX7" fmla="*/ 141194 w 1059520"/>
                <a:gd name="connsiteY7" fmla="*/ 870483 h 1709542"/>
                <a:gd name="connsiteX8" fmla="*/ 282388 w 1059520"/>
                <a:gd name="connsiteY8" fmla="*/ 1502430 h 1709542"/>
                <a:gd name="connsiteX9" fmla="*/ 423582 w 1059520"/>
                <a:gd name="connsiteY9" fmla="*/ 870483 h 1709542"/>
                <a:gd name="connsiteX10" fmla="*/ 282388 w 1059520"/>
                <a:gd name="connsiteY10" fmla="*/ 238536 h 1709542"/>
                <a:gd name="connsiteX11" fmla="*/ 141194 w 1059520"/>
                <a:gd name="connsiteY11" fmla="*/ 870483 h 1709542"/>
                <a:gd name="connsiteX0" fmla="*/ 0 w 1032546"/>
                <a:gd name="connsiteY0" fmla="*/ 870483 h 1709542"/>
                <a:gd name="connsiteX1" fmla="*/ 282388 w 1032546"/>
                <a:gd name="connsiteY1" fmla="*/ 97342 h 1709542"/>
                <a:gd name="connsiteX2" fmla="*/ 783485 w 1032546"/>
                <a:gd name="connsiteY2" fmla="*/ 89427 h 1709542"/>
                <a:gd name="connsiteX3" fmla="*/ 1021976 w 1032546"/>
                <a:gd name="connsiteY3" fmla="*/ 810325 h 1709542"/>
                <a:gd name="connsiteX4" fmla="*/ 980000 w 1032546"/>
                <a:gd name="connsiteY4" fmla="*/ 1573322 h 1709542"/>
                <a:gd name="connsiteX5" fmla="*/ 282388 w 1032546"/>
                <a:gd name="connsiteY5" fmla="*/ 1643624 h 1709542"/>
                <a:gd name="connsiteX6" fmla="*/ 0 w 1032546"/>
                <a:gd name="connsiteY6" fmla="*/ 870483 h 1709542"/>
                <a:gd name="connsiteX7" fmla="*/ 141194 w 1032546"/>
                <a:gd name="connsiteY7" fmla="*/ 870483 h 1709542"/>
                <a:gd name="connsiteX8" fmla="*/ 282388 w 1032546"/>
                <a:gd name="connsiteY8" fmla="*/ 1502430 h 1709542"/>
                <a:gd name="connsiteX9" fmla="*/ 423582 w 1032546"/>
                <a:gd name="connsiteY9" fmla="*/ 870483 h 1709542"/>
                <a:gd name="connsiteX10" fmla="*/ 282388 w 1032546"/>
                <a:gd name="connsiteY10" fmla="*/ 238536 h 1709542"/>
                <a:gd name="connsiteX11" fmla="*/ 141194 w 1032546"/>
                <a:gd name="connsiteY11" fmla="*/ 870483 h 1709542"/>
                <a:gd name="connsiteX0" fmla="*/ 0 w 1022929"/>
                <a:gd name="connsiteY0" fmla="*/ 870483 h 1687817"/>
                <a:gd name="connsiteX1" fmla="*/ 282388 w 1022929"/>
                <a:gd name="connsiteY1" fmla="*/ 97342 h 1687817"/>
                <a:gd name="connsiteX2" fmla="*/ 783485 w 1022929"/>
                <a:gd name="connsiteY2" fmla="*/ 89427 h 1687817"/>
                <a:gd name="connsiteX3" fmla="*/ 1021976 w 1022929"/>
                <a:gd name="connsiteY3" fmla="*/ 810325 h 1687817"/>
                <a:gd name="connsiteX4" fmla="*/ 867705 w 1022929"/>
                <a:gd name="connsiteY4" fmla="*/ 1509153 h 1687817"/>
                <a:gd name="connsiteX5" fmla="*/ 282388 w 1022929"/>
                <a:gd name="connsiteY5" fmla="*/ 1643624 h 1687817"/>
                <a:gd name="connsiteX6" fmla="*/ 0 w 1022929"/>
                <a:gd name="connsiteY6" fmla="*/ 870483 h 1687817"/>
                <a:gd name="connsiteX7" fmla="*/ 141194 w 1022929"/>
                <a:gd name="connsiteY7" fmla="*/ 870483 h 1687817"/>
                <a:gd name="connsiteX8" fmla="*/ 282388 w 1022929"/>
                <a:gd name="connsiteY8" fmla="*/ 1502430 h 1687817"/>
                <a:gd name="connsiteX9" fmla="*/ 423582 w 1022929"/>
                <a:gd name="connsiteY9" fmla="*/ 870483 h 1687817"/>
                <a:gd name="connsiteX10" fmla="*/ 282388 w 1022929"/>
                <a:gd name="connsiteY10" fmla="*/ 238536 h 1687817"/>
                <a:gd name="connsiteX11" fmla="*/ 141194 w 1022929"/>
                <a:gd name="connsiteY11" fmla="*/ 870483 h 1687817"/>
                <a:gd name="connsiteX0" fmla="*/ 0 w 1025541"/>
                <a:gd name="connsiteY0" fmla="*/ 870483 h 1694992"/>
                <a:gd name="connsiteX1" fmla="*/ 282388 w 1025541"/>
                <a:gd name="connsiteY1" fmla="*/ 97342 h 1694992"/>
                <a:gd name="connsiteX2" fmla="*/ 783485 w 1025541"/>
                <a:gd name="connsiteY2" fmla="*/ 89427 h 1694992"/>
                <a:gd name="connsiteX3" fmla="*/ 1021976 w 1025541"/>
                <a:gd name="connsiteY3" fmla="*/ 810325 h 1694992"/>
                <a:gd name="connsiteX4" fmla="*/ 923853 w 1025541"/>
                <a:gd name="connsiteY4" fmla="*/ 1533216 h 1694992"/>
                <a:gd name="connsiteX5" fmla="*/ 282388 w 1025541"/>
                <a:gd name="connsiteY5" fmla="*/ 1643624 h 1694992"/>
                <a:gd name="connsiteX6" fmla="*/ 0 w 1025541"/>
                <a:gd name="connsiteY6" fmla="*/ 870483 h 1694992"/>
                <a:gd name="connsiteX7" fmla="*/ 141194 w 1025541"/>
                <a:gd name="connsiteY7" fmla="*/ 870483 h 1694992"/>
                <a:gd name="connsiteX8" fmla="*/ 282388 w 1025541"/>
                <a:gd name="connsiteY8" fmla="*/ 1502430 h 1694992"/>
                <a:gd name="connsiteX9" fmla="*/ 423582 w 1025541"/>
                <a:gd name="connsiteY9" fmla="*/ 870483 h 1694992"/>
                <a:gd name="connsiteX10" fmla="*/ 282388 w 1025541"/>
                <a:gd name="connsiteY10" fmla="*/ 238536 h 1694992"/>
                <a:gd name="connsiteX11" fmla="*/ 141194 w 1025541"/>
                <a:gd name="connsiteY11" fmla="*/ 870483 h 1694992"/>
                <a:gd name="connsiteX0" fmla="*/ 0 w 1024521"/>
                <a:gd name="connsiteY0" fmla="*/ 870483 h 1691271"/>
                <a:gd name="connsiteX1" fmla="*/ 282388 w 1024521"/>
                <a:gd name="connsiteY1" fmla="*/ 97342 h 1691271"/>
                <a:gd name="connsiteX2" fmla="*/ 783485 w 1024521"/>
                <a:gd name="connsiteY2" fmla="*/ 89427 h 1691271"/>
                <a:gd name="connsiteX3" fmla="*/ 1021976 w 1024521"/>
                <a:gd name="connsiteY3" fmla="*/ 810325 h 1691271"/>
                <a:gd name="connsiteX4" fmla="*/ 907811 w 1024521"/>
                <a:gd name="connsiteY4" fmla="*/ 1521185 h 1691271"/>
                <a:gd name="connsiteX5" fmla="*/ 282388 w 1024521"/>
                <a:gd name="connsiteY5" fmla="*/ 1643624 h 1691271"/>
                <a:gd name="connsiteX6" fmla="*/ 0 w 1024521"/>
                <a:gd name="connsiteY6" fmla="*/ 870483 h 1691271"/>
                <a:gd name="connsiteX7" fmla="*/ 141194 w 1024521"/>
                <a:gd name="connsiteY7" fmla="*/ 870483 h 1691271"/>
                <a:gd name="connsiteX8" fmla="*/ 282388 w 1024521"/>
                <a:gd name="connsiteY8" fmla="*/ 1502430 h 1691271"/>
                <a:gd name="connsiteX9" fmla="*/ 423582 w 1024521"/>
                <a:gd name="connsiteY9" fmla="*/ 870483 h 1691271"/>
                <a:gd name="connsiteX10" fmla="*/ 282388 w 1024521"/>
                <a:gd name="connsiteY10" fmla="*/ 238536 h 1691271"/>
                <a:gd name="connsiteX11" fmla="*/ 141194 w 1024521"/>
                <a:gd name="connsiteY11" fmla="*/ 870483 h 1691271"/>
                <a:gd name="connsiteX0" fmla="*/ 0 w 1026787"/>
                <a:gd name="connsiteY0" fmla="*/ 870483 h 1691271"/>
                <a:gd name="connsiteX1" fmla="*/ 282388 w 1026787"/>
                <a:gd name="connsiteY1" fmla="*/ 97342 h 1691271"/>
                <a:gd name="connsiteX2" fmla="*/ 783485 w 1026787"/>
                <a:gd name="connsiteY2" fmla="*/ 89427 h 1691271"/>
                <a:gd name="connsiteX3" fmla="*/ 1021976 w 1026787"/>
                <a:gd name="connsiteY3" fmla="*/ 810325 h 1691271"/>
                <a:gd name="connsiteX4" fmla="*/ 907811 w 1026787"/>
                <a:gd name="connsiteY4" fmla="*/ 1521185 h 1691271"/>
                <a:gd name="connsiteX5" fmla="*/ 282388 w 1026787"/>
                <a:gd name="connsiteY5" fmla="*/ 1643624 h 1691271"/>
                <a:gd name="connsiteX6" fmla="*/ 0 w 1026787"/>
                <a:gd name="connsiteY6" fmla="*/ 870483 h 1691271"/>
                <a:gd name="connsiteX7" fmla="*/ 141194 w 1026787"/>
                <a:gd name="connsiteY7" fmla="*/ 870483 h 1691271"/>
                <a:gd name="connsiteX8" fmla="*/ 282388 w 1026787"/>
                <a:gd name="connsiteY8" fmla="*/ 1502430 h 1691271"/>
                <a:gd name="connsiteX9" fmla="*/ 423582 w 1026787"/>
                <a:gd name="connsiteY9" fmla="*/ 870483 h 1691271"/>
                <a:gd name="connsiteX10" fmla="*/ 282388 w 1026787"/>
                <a:gd name="connsiteY10" fmla="*/ 238536 h 1691271"/>
                <a:gd name="connsiteX11" fmla="*/ 141194 w 1026787"/>
                <a:gd name="connsiteY11" fmla="*/ 870483 h 1691271"/>
                <a:gd name="connsiteX0" fmla="*/ 0 w 1024000"/>
                <a:gd name="connsiteY0" fmla="*/ 870483 h 1706351"/>
                <a:gd name="connsiteX1" fmla="*/ 282388 w 1024000"/>
                <a:gd name="connsiteY1" fmla="*/ 97342 h 1706351"/>
                <a:gd name="connsiteX2" fmla="*/ 783485 w 1024000"/>
                <a:gd name="connsiteY2" fmla="*/ 89427 h 1706351"/>
                <a:gd name="connsiteX3" fmla="*/ 1021976 w 1024000"/>
                <a:gd name="connsiteY3" fmla="*/ 810325 h 1706351"/>
                <a:gd name="connsiteX4" fmla="*/ 875727 w 1024000"/>
                <a:gd name="connsiteY4" fmla="*/ 1565300 h 1706351"/>
                <a:gd name="connsiteX5" fmla="*/ 282388 w 1024000"/>
                <a:gd name="connsiteY5" fmla="*/ 1643624 h 1706351"/>
                <a:gd name="connsiteX6" fmla="*/ 0 w 1024000"/>
                <a:gd name="connsiteY6" fmla="*/ 870483 h 1706351"/>
                <a:gd name="connsiteX7" fmla="*/ 141194 w 1024000"/>
                <a:gd name="connsiteY7" fmla="*/ 870483 h 1706351"/>
                <a:gd name="connsiteX8" fmla="*/ 282388 w 1024000"/>
                <a:gd name="connsiteY8" fmla="*/ 1502430 h 1706351"/>
                <a:gd name="connsiteX9" fmla="*/ 423582 w 1024000"/>
                <a:gd name="connsiteY9" fmla="*/ 870483 h 1706351"/>
                <a:gd name="connsiteX10" fmla="*/ 282388 w 1024000"/>
                <a:gd name="connsiteY10" fmla="*/ 238536 h 1706351"/>
                <a:gd name="connsiteX11" fmla="*/ 141194 w 1024000"/>
                <a:gd name="connsiteY11" fmla="*/ 870483 h 1706351"/>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792183 h 1628051"/>
                <a:gd name="connsiteX1" fmla="*/ 282388 w 1024000"/>
                <a:gd name="connsiteY1" fmla="*/ 19042 h 1628051"/>
                <a:gd name="connsiteX2" fmla="*/ 783485 w 1024000"/>
                <a:gd name="connsiteY2" fmla="*/ 11127 h 1628051"/>
                <a:gd name="connsiteX3" fmla="*/ 1021976 w 1024000"/>
                <a:gd name="connsiteY3" fmla="*/ 732025 h 1628051"/>
                <a:gd name="connsiteX4" fmla="*/ 875727 w 1024000"/>
                <a:gd name="connsiteY4" fmla="*/ 1487000 h 1628051"/>
                <a:gd name="connsiteX5" fmla="*/ 282388 w 1024000"/>
                <a:gd name="connsiteY5" fmla="*/ 1565324 h 1628051"/>
                <a:gd name="connsiteX6" fmla="*/ 0 w 1024000"/>
                <a:gd name="connsiteY6" fmla="*/ 792183 h 1628051"/>
                <a:gd name="connsiteX7" fmla="*/ 141194 w 1024000"/>
                <a:gd name="connsiteY7" fmla="*/ 792183 h 1628051"/>
                <a:gd name="connsiteX8" fmla="*/ 282388 w 1024000"/>
                <a:gd name="connsiteY8" fmla="*/ 1424130 h 1628051"/>
                <a:gd name="connsiteX9" fmla="*/ 423582 w 1024000"/>
                <a:gd name="connsiteY9" fmla="*/ 792183 h 1628051"/>
                <a:gd name="connsiteX10" fmla="*/ 282388 w 1024000"/>
                <a:gd name="connsiteY10" fmla="*/ 160236 h 1628051"/>
                <a:gd name="connsiteX11" fmla="*/ 141194 w 1024000"/>
                <a:gd name="connsiteY11" fmla="*/ 792183 h 1628051"/>
                <a:gd name="connsiteX0" fmla="*/ 0 w 1024000"/>
                <a:gd name="connsiteY0" fmla="*/ 779274 h 1615142"/>
                <a:gd name="connsiteX1" fmla="*/ 282388 w 1024000"/>
                <a:gd name="connsiteY1" fmla="*/ 6133 h 1615142"/>
                <a:gd name="connsiteX2" fmla="*/ 783485 w 1024000"/>
                <a:gd name="connsiteY2" fmla="*/ 18271 h 1615142"/>
                <a:gd name="connsiteX3" fmla="*/ 1021976 w 1024000"/>
                <a:gd name="connsiteY3" fmla="*/ 719116 h 1615142"/>
                <a:gd name="connsiteX4" fmla="*/ 875727 w 1024000"/>
                <a:gd name="connsiteY4" fmla="*/ 1474091 h 1615142"/>
                <a:gd name="connsiteX5" fmla="*/ 282388 w 1024000"/>
                <a:gd name="connsiteY5" fmla="*/ 1552415 h 1615142"/>
                <a:gd name="connsiteX6" fmla="*/ 0 w 1024000"/>
                <a:gd name="connsiteY6" fmla="*/ 779274 h 1615142"/>
                <a:gd name="connsiteX7" fmla="*/ 141194 w 1024000"/>
                <a:gd name="connsiteY7" fmla="*/ 779274 h 1615142"/>
                <a:gd name="connsiteX8" fmla="*/ 282388 w 1024000"/>
                <a:gd name="connsiteY8" fmla="*/ 1411221 h 1615142"/>
                <a:gd name="connsiteX9" fmla="*/ 423582 w 1024000"/>
                <a:gd name="connsiteY9" fmla="*/ 779274 h 1615142"/>
                <a:gd name="connsiteX10" fmla="*/ 282388 w 1024000"/>
                <a:gd name="connsiteY10" fmla="*/ 147327 h 1615142"/>
                <a:gd name="connsiteX11" fmla="*/ 141194 w 1024000"/>
                <a:gd name="connsiteY11" fmla="*/ 779274 h 1615142"/>
                <a:gd name="connsiteX0" fmla="*/ 0 w 1024000"/>
                <a:gd name="connsiteY0" fmla="*/ 792182 h 1628050"/>
                <a:gd name="connsiteX1" fmla="*/ 282388 w 1024000"/>
                <a:gd name="connsiteY1" fmla="*/ 19041 h 1628050"/>
                <a:gd name="connsiteX2" fmla="*/ 783485 w 1024000"/>
                <a:gd name="connsiteY2" fmla="*/ 11126 h 1628050"/>
                <a:gd name="connsiteX3" fmla="*/ 1021976 w 1024000"/>
                <a:gd name="connsiteY3" fmla="*/ 732024 h 1628050"/>
                <a:gd name="connsiteX4" fmla="*/ 875727 w 1024000"/>
                <a:gd name="connsiteY4" fmla="*/ 1486999 h 1628050"/>
                <a:gd name="connsiteX5" fmla="*/ 282388 w 1024000"/>
                <a:gd name="connsiteY5" fmla="*/ 1565323 h 1628050"/>
                <a:gd name="connsiteX6" fmla="*/ 0 w 1024000"/>
                <a:gd name="connsiteY6" fmla="*/ 792182 h 1628050"/>
                <a:gd name="connsiteX7" fmla="*/ 141194 w 1024000"/>
                <a:gd name="connsiteY7" fmla="*/ 792182 h 1628050"/>
                <a:gd name="connsiteX8" fmla="*/ 282388 w 1024000"/>
                <a:gd name="connsiteY8" fmla="*/ 1424129 h 1628050"/>
                <a:gd name="connsiteX9" fmla="*/ 423582 w 1024000"/>
                <a:gd name="connsiteY9" fmla="*/ 792182 h 1628050"/>
                <a:gd name="connsiteX10" fmla="*/ 282388 w 1024000"/>
                <a:gd name="connsiteY10" fmla="*/ 160235 h 1628050"/>
                <a:gd name="connsiteX11" fmla="*/ 141194 w 1024000"/>
                <a:gd name="connsiteY11" fmla="*/ 792182 h 1628050"/>
                <a:gd name="connsiteX0" fmla="*/ 334 w 1024334"/>
                <a:gd name="connsiteY0" fmla="*/ 801704 h 1637572"/>
                <a:gd name="connsiteX1" fmla="*/ 238606 w 1024334"/>
                <a:gd name="connsiteY1" fmla="*/ 4500 h 1637572"/>
                <a:gd name="connsiteX2" fmla="*/ 783819 w 1024334"/>
                <a:gd name="connsiteY2" fmla="*/ 20648 h 1637572"/>
                <a:gd name="connsiteX3" fmla="*/ 1022310 w 1024334"/>
                <a:gd name="connsiteY3" fmla="*/ 741546 h 1637572"/>
                <a:gd name="connsiteX4" fmla="*/ 876061 w 1024334"/>
                <a:gd name="connsiteY4" fmla="*/ 1496521 h 1637572"/>
                <a:gd name="connsiteX5" fmla="*/ 282722 w 1024334"/>
                <a:gd name="connsiteY5" fmla="*/ 1574845 h 1637572"/>
                <a:gd name="connsiteX6" fmla="*/ 334 w 1024334"/>
                <a:gd name="connsiteY6" fmla="*/ 801704 h 1637572"/>
                <a:gd name="connsiteX7" fmla="*/ 141528 w 1024334"/>
                <a:gd name="connsiteY7" fmla="*/ 801704 h 1637572"/>
                <a:gd name="connsiteX8" fmla="*/ 282722 w 1024334"/>
                <a:gd name="connsiteY8" fmla="*/ 1433651 h 1637572"/>
                <a:gd name="connsiteX9" fmla="*/ 423916 w 1024334"/>
                <a:gd name="connsiteY9" fmla="*/ 801704 h 1637572"/>
                <a:gd name="connsiteX10" fmla="*/ 282722 w 1024334"/>
                <a:gd name="connsiteY10" fmla="*/ 169757 h 1637572"/>
                <a:gd name="connsiteX11" fmla="*/ 141528 w 1024334"/>
                <a:gd name="connsiteY11" fmla="*/ 801704 h 1637572"/>
                <a:gd name="connsiteX0" fmla="*/ 334 w 1024561"/>
                <a:gd name="connsiteY0" fmla="*/ 816307 h 1652175"/>
                <a:gd name="connsiteX1" fmla="*/ 238606 w 1024561"/>
                <a:gd name="connsiteY1" fmla="*/ 19103 h 1652175"/>
                <a:gd name="connsiteX2" fmla="*/ 777783 w 1024561"/>
                <a:gd name="connsiteY2" fmla="*/ 11108 h 1652175"/>
                <a:gd name="connsiteX3" fmla="*/ 1022310 w 1024561"/>
                <a:gd name="connsiteY3" fmla="*/ 756149 h 1652175"/>
                <a:gd name="connsiteX4" fmla="*/ 876061 w 1024561"/>
                <a:gd name="connsiteY4" fmla="*/ 1511124 h 1652175"/>
                <a:gd name="connsiteX5" fmla="*/ 282722 w 1024561"/>
                <a:gd name="connsiteY5" fmla="*/ 1589448 h 1652175"/>
                <a:gd name="connsiteX6" fmla="*/ 334 w 1024561"/>
                <a:gd name="connsiteY6" fmla="*/ 816307 h 1652175"/>
                <a:gd name="connsiteX7" fmla="*/ 141528 w 1024561"/>
                <a:gd name="connsiteY7" fmla="*/ 816307 h 1652175"/>
                <a:gd name="connsiteX8" fmla="*/ 282722 w 1024561"/>
                <a:gd name="connsiteY8" fmla="*/ 1448254 h 1652175"/>
                <a:gd name="connsiteX9" fmla="*/ 423916 w 1024561"/>
                <a:gd name="connsiteY9" fmla="*/ 816307 h 1652175"/>
                <a:gd name="connsiteX10" fmla="*/ 282722 w 1024561"/>
                <a:gd name="connsiteY10" fmla="*/ 184360 h 1652175"/>
                <a:gd name="connsiteX11" fmla="*/ 141528 w 1024561"/>
                <a:gd name="connsiteY11" fmla="*/ 816307 h 1652175"/>
                <a:gd name="connsiteX0" fmla="*/ 334 w 1024224"/>
                <a:gd name="connsiteY0" fmla="*/ 809712 h 1645580"/>
                <a:gd name="connsiteX1" fmla="*/ 238606 w 1024224"/>
                <a:gd name="connsiteY1" fmla="*/ 12508 h 1645580"/>
                <a:gd name="connsiteX2" fmla="*/ 786837 w 1024224"/>
                <a:gd name="connsiteY2" fmla="*/ 13566 h 1645580"/>
                <a:gd name="connsiteX3" fmla="*/ 1022310 w 1024224"/>
                <a:gd name="connsiteY3" fmla="*/ 749554 h 1645580"/>
                <a:gd name="connsiteX4" fmla="*/ 876061 w 1024224"/>
                <a:gd name="connsiteY4" fmla="*/ 1504529 h 1645580"/>
                <a:gd name="connsiteX5" fmla="*/ 282722 w 1024224"/>
                <a:gd name="connsiteY5" fmla="*/ 1582853 h 1645580"/>
                <a:gd name="connsiteX6" fmla="*/ 334 w 1024224"/>
                <a:gd name="connsiteY6" fmla="*/ 809712 h 1645580"/>
                <a:gd name="connsiteX7" fmla="*/ 141528 w 1024224"/>
                <a:gd name="connsiteY7" fmla="*/ 809712 h 1645580"/>
                <a:gd name="connsiteX8" fmla="*/ 282722 w 1024224"/>
                <a:gd name="connsiteY8" fmla="*/ 1441659 h 1645580"/>
                <a:gd name="connsiteX9" fmla="*/ 423916 w 1024224"/>
                <a:gd name="connsiteY9" fmla="*/ 809712 h 1645580"/>
                <a:gd name="connsiteX10" fmla="*/ 282722 w 1024224"/>
                <a:gd name="connsiteY10" fmla="*/ 177765 h 1645580"/>
                <a:gd name="connsiteX11" fmla="*/ 141528 w 1024224"/>
                <a:gd name="connsiteY11" fmla="*/ 809712 h 1645580"/>
                <a:gd name="connsiteX0" fmla="*/ 334 w 1024224"/>
                <a:gd name="connsiteY0" fmla="*/ 800969 h 1636837"/>
                <a:gd name="connsiteX1" fmla="*/ 238606 w 1024224"/>
                <a:gd name="connsiteY1" fmla="*/ 3765 h 1636837"/>
                <a:gd name="connsiteX2" fmla="*/ 786837 w 1024224"/>
                <a:gd name="connsiteY2" fmla="*/ 4823 h 1636837"/>
                <a:gd name="connsiteX3" fmla="*/ 1022310 w 1024224"/>
                <a:gd name="connsiteY3" fmla="*/ 740811 h 1636837"/>
                <a:gd name="connsiteX4" fmla="*/ 876061 w 1024224"/>
                <a:gd name="connsiteY4" fmla="*/ 1495786 h 1636837"/>
                <a:gd name="connsiteX5" fmla="*/ 282722 w 1024224"/>
                <a:gd name="connsiteY5" fmla="*/ 1574110 h 1636837"/>
                <a:gd name="connsiteX6" fmla="*/ 334 w 1024224"/>
                <a:gd name="connsiteY6" fmla="*/ 800969 h 1636837"/>
                <a:gd name="connsiteX7" fmla="*/ 141528 w 1024224"/>
                <a:gd name="connsiteY7" fmla="*/ 800969 h 1636837"/>
                <a:gd name="connsiteX8" fmla="*/ 282722 w 1024224"/>
                <a:gd name="connsiteY8" fmla="*/ 1432916 h 1636837"/>
                <a:gd name="connsiteX9" fmla="*/ 423916 w 1024224"/>
                <a:gd name="connsiteY9" fmla="*/ 800969 h 1636837"/>
                <a:gd name="connsiteX10" fmla="*/ 282722 w 1024224"/>
                <a:gd name="connsiteY10" fmla="*/ 169022 h 1636837"/>
                <a:gd name="connsiteX11" fmla="*/ 141528 w 1024224"/>
                <a:gd name="connsiteY11" fmla="*/ 800969 h 1636837"/>
                <a:gd name="connsiteX0" fmla="*/ 334 w 1024224"/>
                <a:gd name="connsiteY0" fmla="*/ 804626 h 1640494"/>
                <a:gd name="connsiteX1" fmla="*/ 238606 w 1024224"/>
                <a:gd name="connsiteY1" fmla="*/ 7422 h 1640494"/>
                <a:gd name="connsiteX2" fmla="*/ 786837 w 1024224"/>
                <a:gd name="connsiteY2" fmla="*/ 2444 h 1640494"/>
                <a:gd name="connsiteX3" fmla="*/ 1022310 w 1024224"/>
                <a:gd name="connsiteY3" fmla="*/ 744468 h 1640494"/>
                <a:gd name="connsiteX4" fmla="*/ 876061 w 1024224"/>
                <a:gd name="connsiteY4" fmla="*/ 1499443 h 1640494"/>
                <a:gd name="connsiteX5" fmla="*/ 282722 w 1024224"/>
                <a:gd name="connsiteY5" fmla="*/ 1577767 h 1640494"/>
                <a:gd name="connsiteX6" fmla="*/ 334 w 1024224"/>
                <a:gd name="connsiteY6" fmla="*/ 804626 h 1640494"/>
                <a:gd name="connsiteX7" fmla="*/ 141528 w 1024224"/>
                <a:gd name="connsiteY7" fmla="*/ 804626 h 1640494"/>
                <a:gd name="connsiteX8" fmla="*/ 282722 w 1024224"/>
                <a:gd name="connsiteY8" fmla="*/ 1436573 h 1640494"/>
                <a:gd name="connsiteX9" fmla="*/ 423916 w 1024224"/>
                <a:gd name="connsiteY9" fmla="*/ 804626 h 1640494"/>
                <a:gd name="connsiteX10" fmla="*/ 282722 w 1024224"/>
                <a:gd name="connsiteY10" fmla="*/ 172679 h 1640494"/>
                <a:gd name="connsiteX11" fmla="*/ 141528 w 1024224"/>
                <a:gd name="connsiteY11" fmla="*/ 804626 h 1640494"/>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75323"/>
                <a:gd name="connsiteX1" fmla="*/ 238606 w 1024224"/>
                <a:gd name="connsiteY1" fmla="*/ 4978 h 1575323"/>
                <a:gd name="connsiteX2" fmla="*/ 786837 w 1024224"/>
                <a:gd name="connsiteY2" fmla="*/ 0 h 1575323"/>
                <a:gd name="connsiteX3" fmla="*/ 1022310 w 1024224"/>
                <a:gd name="connsiteY3" fmla="*/ 742024 h 1575323"/>
                <a:gd name="connsiteX4" fmla="*/ 876061 w 1024224"/>
                <a:gd name="connsiteY4" fmla="*/ 1496999 h 1575323"/>
                <a:gd name="connsiteX5" fmla="*/ 282722 w 1024224"/>
                <a:gd name="connsiteY5" fmla="*/ 1575323 h 1575323"/>
                <a:gd name="connsiteX6" fmla="*/ 334 w 1024224"/>
                <a:gd name="connsiteY6" fmla="*/ 802182 h 1575323"/>
                <a:gd name="connsiteX7" fmla="*/ 141528 w 1024224"/>
                <a:gd name="connsiteY7" fmla="*/ 802182 h 1575323"/>
                <a:gd name="connsiteX8" fmla="*/ 282722 w 1024224"/>
                <a:gd name="connsiteY8" fmla="*/ 1434129 h 1575323"/>
                <a:gd name="connsiteX9" fmla="*/ 423916 w 1024224"/>
                <a:gd name="connsiteY9" fmla="*/ 802182 h 1575323"/>
                <a:gd name="connsiteX10" fmla="*/ 282722 w 1024224"/>
                <a:gd name="connsiteY10" fmla="*/ 170235 h 1575323"/>
                <a:gd name="connsiteX11" fmla="*/ 141528 w 1024224"/>
                <a:gd name="connsiteY11" fmla="*/ 802182 h 1575323"/>
                <a:gd name="connsiteX0" fmla="*/ 334 w 1022370"/>
                <a:gd name="connsiteY0" fmla="*/ 802182 h 1591544"/>
                <a:gd name="connsiteX1" fmla="*/ 238606 w 1022370"/>
                <a:gd name="connsiteY1" fmla="*/ 4978 h 1591544"/>
                <a:gd name="connsiteX2" fmla="*/ 786837 w 1022370"/>
                <a:gd name="connsiteY2" fmla="*/ 0 h 1591544"/>
                <a:gd name="connsiteX3" fmla="*/ 1022310 w 1022370"/>
                <a:gd name="connsiteY3" fmla="*/ 742024 h 1591544"/>
                <a:gd name="connsiteX4" fmla="*/ 806651 w 1022370"/>
                <a:gd name="connsiteY4" fmla="*/ 1578480 h 1591544"/>
                <a:gd name="connsiteX5" fmla="*/ 282722 w 1022370"/>
                <a:gd name="connsiteY5" fmla="*/ 1575323 h 1591544"/>
                <a:gd name="connsiteX6" fmla="*/ 334 w 1022370"/>
                <a:gd name="connsiteY6" fmla="*/ 802182 h 1591544"/>
                <a:gd name="connsiteX7" fmla="*/ 141528 w 1022370"/>
                <a:gd name="connsiteY7" fmla="*/ 802182 h 1591544"/>
                <a:gd name="connsiteX8" fmla="*/ 282722 w 1022370"/>
                <a:gd name="connsiteY8" fmla="*/ 1434129 h 1591544"/>
                <a:gd name="connsiteX9" fmla="*/ 423916 w 1022370"/>
                <a:gd name="connsiteY9" fmla="*/ 802182 h 1591544"/>
                <a:gd name="connsiteX10" fmla="*/ 282722 w 1022370"/>
                <a:gd name="connsiteY10" fmla="*/ 170235 h 1591544"/>
                <a:gd name="connsiteX11" fmla="*/ 141528 w 1022370"/>
                <a:gd name="connsiteY11" fmla="*/ 802182 h 1591544"/>
                <a:gd name="connsiteX0" fmla="*/ 334 w 1022310"/>
                <a:gd name="connsiteY0" fmla="*/ 802182 h 1576985"/>
                <a:gd name="connsiteX1" fmla="*/ 238606 w 1022310"/>
                <a:gd name="connsiteY1" fmla="*/ 4978 h 1576985"/>
                <a:gd name="connsiteX2" fmla="*/ 786837 w 1022310"/>
                <a:gd name="connsiteY2" fmla="*/ 0 h 1576985"/>
                <a:gd name="connsiteX3" fmla="*/ 1022310 w 1022310"/>
                <a:gd name="connsiteY3" fmla="*/ 742024 h 1576985"/>
                <a:gd name="connsiteX4" fmla="*/ 788544 w 1022310"/>
                <a:gd name="connsiteY4" fmla="*/ 1557355 h 1576985"/>
                <a:gd name="connsiteX5" fmla="*/ 282722 w 1022310"/>
                <a:gd name="connsiteY5" fmla="*/ 1575323 h 1576985"/>
                <a:gd name="connsiteX6" fmla="*/ 334 w 1022310"/>
                <a:gd name="connsiteY6" fmla="*/ 802182 h 1576985"/>
                <a:gd name="connsiteX7" fmla="*/ 141528 w 1022310"/>
                <a:gd name="connsiteY7" fmla="*/ 802182 h 1576985"/>
                <a:gd name="connsiteX8" fmla="*/ 282722 w 1022310"/>
                <a:gd name="connsiteY8" fmla="*/ 1434129 h 1576985"/>
                <a:gd name="connsiteX9" fmla="*/ 423916 w 1022310"/>
                <a:gd name="connsiteY9" fmla="*/ 802182 h 1576985"/>
                <a:gd name="connsiteX10" fmla="*/ 282722 w 1022310"/>
                <a:gd name="connsiteY10" fmla="*/ 170235 h 1576985"/>
                <a:gd name="connsiteX11" fmla="*/ 141528 w 1022310"/>
                <a:gd name="connsiteY11" fmla="*/ 802182 h 1576985"/>
                <a:gd name="connsiteX0" fmla="*/ 334 w 1022310"/>
                <a:gd name="connsiteY0" fmla="*/ 802182 h 1575323"/>
                <a:gd name="connsiteX1" fmla="*/ 238606 w 1022310"/>
                <a:gd name="connsiteY1" fmla="*/ 4978 h 1575323"/>
                <a:gd name="connsiteX2" fmla="*/ 786837 w 1022310"/>
                <a:gd name="connsiteY2" fmla="*/ 0 h 1575323"/>
                <a:gd name="connsiteX3" fmla="*/ 1022310 w 1022310"/>
                <a:gd name="connsiteY3" fmla="*/ 742024 h 1575323"/>
                <a:gd name="connsiteX4" fmla="*/ 788544 w 1022310"/>
                <a:gd name="connsiteY4" fmla="*/ 1557355 h 1575323"/>
                <a:gd name="connsiteX5" fmla="*/ 282722 w 1022310"/>
                <a:gd name="connsiteY5" fmla="*/ 1575323 h 1575323"/>
                <a:gd name="connsiteX6" fmla="*/ 334 w 1022310"/>
                <a:gd name="connsiteY6" fmla="*/ 802182 h 1575323"/>
                <a:gd name="connsiteX7" fmla="*/ 141528 w 1022310"/>
                <a:gd name="connsiteY7" fmla="*/ 802182 h 1575323"/>
                <a:gd name="connsiteX8" fmla="*/ 282722 w 1022310"/>
                <a:gd name="connsiteY8" fmla="*/ 1434129 h 1575323"/>
                <a:gd name="connsiteX9" fmla="*/ 423916 w 1022310"/>
                <a:gd name="connsiteY9" fmla="*/ 802182 h 1575323"/>
                <a:gd name="connsiteX10" fmla="*/ 282722 w 1022310"/>
                <a:gd name="connsiteY10" fmla="*/ 170235 h 1575323"/>
                <a:gd name="connsiteX11" fmla="*/ 141528 w 1022310"/>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538594 w 1022336"/>
                <a:gd name="connsiteY9" fmla="*/ 77502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51077 w 1022336"/>
                <a:gd name="connsiteY9" fmla="*/ 765968 h 1575323"/>
                <a:gd name="connsiteX10" fmla="*/ 258579 w 1022336"/>
                <a:gd name="connsiteY10" fmla="*/ 227573 h 1575323"/>
                <a:gd name="connsiteX11" fmla="*/ 141528 w 1022336"/>
                <a:gd name="connsiteY11" fmla="*/ 802182 h 15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36" h="1575323">
                  <a:moveTo>
                    <a:pt x="334" y="802182"/>
                  </a:moveTo>
                  <a:cubicBezTo>
                    <a:pt x="-7019" y="540458"/>
                    <a:pt x="108025" y="135154"/>
                    <a:pt x="238606" y="4978"/>
                  </a:cubicBezTo>
                  <a:cubicBezTo>
                    <a:pt x="369187" y="-872"/>
                    <a:pt x="618463" y="6608"/>
                    <a:pt x="786837" y="0"/>
                  </a:cubicBezTo>
                  <a:cubicBezTo>
                    <a:pt x="940280" y="112795"/>
                    <a:pt x="1024037" y="479950"/>
                    <a:pt x="1022310" y="742024"/>
                  </a:cubicBezTo>
                  <a:cubicBezTo>
                    <a:pt x="1020583" y="1004098"/>
                    <a:pt x="927017" y="1342352"/>
                    <a:pt x="776473" y="1572444"/>
                  </a:cubicBezTo>
                  <a:cubicBezTo>
                    <a:pt x="610959" y="1575525"/>
                    <a:pt x="470925" y="1570413"/>
                    <a:pt x="282722" y="1575323"/>
                  </a:cubicBezTo>
                  <a:cubicBezTo>
                    <a:pt x="136768" y="1459520"/>
                    <a:pt x="7687" y="1063906"/>
                    <a:pt x="334" y="802182"/>
                  </a:cubicBezTo>
                  <a:close/>
                  <a:moveTo>
                    <a:pt x="141528" y="802182"/>
                  </a:moveTo>
                  <a:cubicBezTo>
                    <a:pt x="142534" y="990700"/>
                    <a:pt x="213024" y="1364719"/>
                    <a:pt x="264615" y="1358683"/>
                  </a:cubicBezTo>
                  <a:cubicBezTo>
                    <a:pt x="316207" y="1352647"/>
                    <a:pt x="451077" y="1114983"/>
                    <a:pt x="451077" y="765968"/>
                  </a:cubicBezTo>
                  <a:cubicBezTo>
                    <a:pt x="451077" y="416953"/>
                    <a:pt x="310171" y="221537"/>
                    <a:pt x="258579" y="227573"/>
                  </a:cubicBezTo>
                  <a:cubicBezTo>
                    <a:pt x="206988" y="233609"/>
                    <a:pt x="140522" y="613664"/>
                    <a:pt x="141528" y="802182"/>
                  </a:cubicBezTo>
                  <a:close/>
                </a:path>
              </a:pathLst>
            </a:custGeom>
            <a:gradFill>
              <a:gsLst>
                <a:gs pos="50000">
                  <a:srgbClr val="61ADD1"/>
                </a:gs>
                <a:gs pos="50000">
                  <a:srgbClr val="3999C6"/>
                </a:gs>
              </a:gsLst>
              <a:lin ang="5400000" scaled="1"/>
            </a:gra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sp>
          <p:nvSpPr>
            <p:cNvPr id="64" name="Oval 63"/>
            <p:cNvSpPr/>
            <p:nvPr/>
          </p:nvSpPr>
          <p:spPr>
            <a:xfrm>
              <a:off x="8870781" y="2759551"/>
              <a:ext cx="149814" cy="479652"/>
            </a:xfrm>
            <a:prstGeom prst="ellipse">
              <a:avLst/>
            </a:prstGeom>
            <a:solidFill>
              <a:srgbClr val="0071C6"/>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latin typeface="OCR A Extended" panose="02010509020102010303" pitchFamily="50" charset="0"/>
              </a:endParaRPr>
            </a:p>
          </p:txBody>
        </p:sp>
        <p:sp>
          <p:nvSpPr>
            <p:cNvPr id="65" name="Freeform 64"/>
            <p:cNvSpPr/>
            <p:nvPr/>
          </p:nvSpPr>
          <p:spPr>
            <a:xfrm>
              <a:off x="8525770" y="2822071"/>
              <a:ext cx="465649" cy="363202"/>
            </a:xfrm>
            <a:custGeom>
              <a:avLst/>
              <a:gdLst>
                <a:gd name="connsiteX0" fmla="*/ 1542107 w 1632641"/>
                <a:gd name="connsiteY0" fmla="*/ 0 h 1385180"/>
                <a:gd name="connsiteX1" fmla="*/ 0 w 1632641"/>
                <a:gd name="connsiteY1" fmla="*/ 0 h 1385180"/>
                <a:gd name="connsiteX2" fmla="*/ 0 w 1632641"/>
                <a:gd name="connsiteY2" fmla="*/ 1385180 h 1385180"/>
                <a:gd name="connsiteX3" fmla="*/ 1632641 w 1632641"/>
                <a:gd name="connsiteY3" fmla="*/ 1385180 h 1385180"/>
                <a:gd name="connsiteX4" fmla="*/ 1542107 w 1632641"/>
                <a:gd name="connsiteY4" fmla="*/ 0 h 1385180"/>
                <a:gd name="connsiteX0" fmla="*/ 1636803 w 1636803"/>
                <a:gd name="connsiteY0" fmla="*/ 0 h 1411813"/>
                <a:gd name="connsiteX1" fmla="*/ 0 w 1636803"/>
                <a:gd name="connsiteY1" fmla="*/ 26633 h 1411813"/>
                <a:gd name="connsiteX2" fmla="*/ 0 w 1636803"/>
                <a:gd name="connsiteY2" fmla="*/ 1411813 h 1411813"/>
                <a:gd name="connsiteX3" fmla="*/ 1632641 w 1636803"/>
                <a:gd name="connsiteY3" fmla="*/ 1411813 h 1411813"/>
                <a:gd name="connsiteX4" fmla="*/ 1636803 w 1636803"/>
                <a:gd name="connsiteY4" fmla="*/ 0 h 1411813"/>
                <a:gd name="connsiteX0" fmla="*/ 1636803 w 1755578"/>
                <a:gd name="connsiteY0" fmla="*/ 0 h 1411813"/>
                <a:gd name="connsiteX1" fmla="*/ 0 w 1755578"/>
                <a:gd name="connsiteY1" fmla="*/ 26633 h 1411813"/>
                <a:gd name="connsiteX2" fmla="*/ 0 w 1755578"/>
                <a:gd name="connsiteY2" fmla="*/ 1411813 h 1411813"/>
                <a:gd name="connsiteX3" fmla="*/ 1632641 w 1755578"/>
                <a:gd name="connsiteY3" fmla="*/ 1411813 h 1411813"/>
                <a:gd name="connsiteX4" fmla="*/ 1628845 w 1755578"/>
                <a:gd name="connsiteY4" fmla="*/ 700049 h 1411813"/>
                <a:gd name="connsiteX5" fmla="*/ 1636803 w 1755578"/>
                <a:gd name="connsiteY5" fmla="*/ 0 h 1411813"/>
                <a:gd name="connsiteX0" fmla="*/ 1636803 w 1856181"/>
                <a:gd name="connsiteY0" fmla="*/ 0 h 1411813"/>
                <a:gd name="connsiteX1" fmla="*/ 0 w 1856181"/>
                <a:gd name="connsiteY1" fmla="*/ 26633 h 1411813"/>
                <a:gd name="connsiteX2" fmla="*/ 0 w 1856181"/>
                <a:gd name="connsiteY2" fmla="*/ 1411813 h 1411813"/>
                <a:gd name="connsiteX3" fmla="*/ 1632641 w 1856181"/>
                <a:gd name="connsiteY3" fmla="*/ 1411813 h 1411813"/>
                <a:gd name="connsiteX4" fmla="*/ 1850787 w 1856181"/>
                <a:gd name="connsiteY4" fmla="*/ 655660 h 1411813"/>
                <a:gd name="connsiteX5" fmla="*/ 1636803 w 1856181"/>
                <a:gd name="connsiteY5" fmla="*/ 0 h 1411813"/>
                <a:gd name="connsiteX0" fmla="*/ 1636803 w 1857312"/>
                <a:gd name="connsiteY0" fmla="*/ 0 h 1411813"/>
                <a:gd name="connsiteX1" fmla="*/ 0 w 1857312"/>
                <a:gd name="connsiteY1" fmla="*/ 26633 h 1411813"/>
                <a:gd name="connsiteX2" fmla="*/ 0 w 1857312"/>
                <a:gd name="connsiteY2" fmla="*/ 1411813 h 1411813"/>
                <a:gd name="connsiteX3" fmla="*/ 1632641 w 1857312"/>
                <a:gd name="connsiteY3" fmla="*/ 1411813 h 1411813"/>
                <a:gd name="connsiteX4" fmla="*/ 1850787 w 1857312"/>
                <a:gd name="connsiteY4" fmla="*/ 655660 h 1411813"/>
                <a:gd name="connsiteX5" fmla="*/ 1636803 w 1857312"/>
                <a:gd name="connsiteY5" fmla="*/ 0 h 1411813"/>
                <a:gd name="connsiteX0" fmla="*/ 1636803 w 1857312"/>
                <a:gd name="connsiteY0" fmla="*/ 0 h 1411813"/>
                <a:gd name="connsiteX1" fmla="*/ 0 w 1857312"/>
                <a:gd name="connsiteY1" fmla="*/ 26633 h 1411813"/>
                <a:gd name="connsiteX2" fmla="*/ 0 w 1857312"/>
                <a:gd name="connsiteY2" fmla="*/ 1411813 h 1411813"/>
                <a:gd name="connsiteX3" fmla="*/ 1632641 w 1857312"/>
                <a:gd name="connsiteY3" fmla="*/ 1411813 h 1411813"/>
                <a:gd name="connsiteX4" fmla="*/ 1850787 w 1857312"/>
                <a:gd name="connsiteY4" fmla="*/ 655660 h 1411813"/>
                <a:gd name="connsiteX5" fmla="*/ 1636803 w 1857312"/>
                <a:gd name="connsiteY5" fmla="*/ 0 h 1411813"/>
                <a:gd name="connsiteX0" fmla="*/ 1636803 w 1851869"/>
                <a:gd name="connsiteY0" fmla="*/ 0 h 1411813"/>
                <a:gd name="connsiteX1" fmla="*/ 0 w 1851869"/>
                <a:gd name="connsiteY1" fmla="*/ 26633 h 1411813"/>
                <a:gd name="connsiteX2" fmla="*/ 0 w 1851869"/>
                <a:gd name="connsiteY2" fmla="*/ 1411813 h 1411813"/>
                <a:gd name="connsiteX3" fmla="*/ 1632641 w 1851869"/>
                <a:gd name="connsiteY3" fmla="*/ 1411813 h 1411813"/>
                <a:gd name="connsiteX4" fmla="*/ 1850787 w 1851869"/>
                <a:gd name="connsiteY4" fmla="*/ 655660 h 1411813"/>
                <a:gd name="connsiteX5" fmla="*/ 1636803 w 1851869"/>
                <a:gd name="connsiteY5" fmla="*/ 0 h 1411813"/>
                <a:gd name="connsiteX0" fmla="*/ 1636803 w 1772302"/>
                <a:gd name="connsiteY0" fmla="*/ 0 h 1411813"/>
                <a:gd name="connsiteX1" fmla="*/ 0 w 1772302"/>
                <a:gd name="connsiteY1" fmla="*/ 26633 h 1411813"/>
                <a:gd name="connsiteX2" fmla="*/ 0 w 1772302"/>
                <a:gd name="connsiteY2" fmla="*/ 1411813 h 1411813"/>
                <a:gd name="connsiteX3" fmla="*/ 1632641 w 1772302"/>
                <a:gd name="connsiteY3" fmla="*/ 1411813 h 1411813"/>
                <a:gd name="connsiteX4" fmla="*/ 1744298 w 1772302"/>
                <a:gd name="connsiteY4" fmla="*/ 658396 h 1411813"/>
                <a:gd name="connsiteX5" fmla="*/ 1636803 w 1772302"/>
                <a:gd name="connsiteY5" fmla="*/ 0 h 1411813"/>
                <a:gd name="connsiteX0" fmla="*/ 1636803 w 1765985"/>
                <a:gd name="connsiteY0" fmla="*/ 0 h 1411813"/>
                <a:gd name="connsiteX1" fmla="*/ 0 w 1765985"/>
                <a:gd name="connsiteY1" fmla="*/ 26633 h 1411813"/>
                <a:gd name="connsiteX2" fmla="*/ 0 w 1765985"/>
                <a:gd name="connsiteY2" fmla="*/ 1411813 h 1411813"/>
                <a:gd name="connsiteX3" fmla="*/ 1632641 w 1765985"/>
                <a:gd name="connsiteY3" fmla="*/ 1411813 h 1411813"/>
                <a:gd name="connsiteX4" fmla="*/ 1744298 w 1765985"/>
                <a:gd name="connsiteY4" fmla="*/ 658396 h 1411813"/>
                <a:gd name="connsiteX5" fmla="*/ 1636803 w 1765985"/>
                <a:gd name="connsiteY5" fmla="*/ 0 h 1411813"/>
                <a:gd name="connsiteX0" fmla="*/ 1636803 w 1745055"/>
                <a:gd name="connsiteY0" fmla="*/ 0 h 1411813"/>
                <a:gd name="connsiteX1" fmla="*/ 0 w 1745055"/>
                <a:gd name="connsiteY1" fmla="*/ 26633 h 1411813"/>
                <a:gd name="connsiteX2" fmla="*/ 0 w 1745055"/>
                <a:gd name="connsiteY2" fmla="*/ 1411813 h 1411813"/>
                <a:gd name="connsiteX3" fmla="*/ 1632641 w 1745055"/>
                <a:gd name="connsiteY3" fmla="*/ 1411813 h 1411813"/>
                <a:gd name="connsiteX4" fmla="*/ 1744298 w 1745055"/>
                <a:gd name="connsiteY4" fmla="*/ 658396 h 1411813"/>
                <a:gd name="connsiteX5" fmla="*/ 1636803 w 1745055"/>
                <a:gd name="connsiteY5" fmla="*/ 0 h 1411813"/>
                <a:gd name="connsiteX0" fmla="*/ 1636803 w 1745055"/>
                <a:gd name="connsiteY0" fmla="*/ 0 h 1411813"/>
                <a:gd name="connsiteX1" fmla="*/ 0 w 1745055"/>
                <a:gd name="connsiteY1" fmla="*/ 26633 h 1411813"/>
                <a:gd name="connsiteX2" fmla="*/ 0 w 1745055"/>
                <a:gd name="connsiteY2" fmla="*/ 1411813 h 1411813"/>
                <a:gd name="connsiteX3" fmla="*/ 1632641 w 1745055"/>
                <a:gd name="connsiteY3" fmla="*/ 1411813 h 1411813"/>
                <a:gd name="connsiteX4" fmla="*/ 1744298 w 1745055"/>
                <a:gd name="connsiteY4" fmla="*/ 658396 h 1411813"/>
                <a:gd name="connsiteX5" fmla="*/ 1636803 w 1745055"/>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348"/>
                <a:gd name="connsiteY0" fmla="*/ 0 h 1411813"/>
                <a:gd name="connsiteX1" fmla="*/ 0 w 1744348"/>
                <a:gd name="connsiteY1" fmla="*/ 26633 h 1411813"/>
                <a:gd name="connsiteX2" fmla="*/ 0 w 1744348"/>
                <a:gd name="connsiteY2" fmla="*/ 1411813 h 1411813"/>
                <a:gd name="connsiteX3" fmla="*/ 1632641 w 1744348"/>
                <a:gd name="connsiteY3" fmla="*/ 1411813 h 1411813"/>
                <a:gd name="connsiteX4" fmla="*/ 1744298 w 1744348"/>
                <a:gd name="connsiteY4" fmla="*/ 658396 h 1411813"/>
                <a:gd name="connsiteX5" fmla="*/ 1636803 w 1744348"/>
                <a:gd name="connsiteY5" fmla="*/ 0 h 1411813"/>
                <a:gd name="connsiteX0" fmla="*/ 1636803 w 1750329"/>
                <a:gd name="connsiteY0" fmla="*/ 0 h 1411813"/>
                <a:gd name="connsiteX1" fmla="*/ 0 w 1750329"/>
                <a:gd name="connsiteY1" fmla="*/ 26633 h 1411813"/>
                <a:gd name="connsiteX2" fmla="*/ 0 w 1750329"/>
                <a:gd name="connsiteY2" fmla="*/ 1411813 h 1411813"/>
                <a:gd name="connsiteX3" fmla="*/ 1632641 w 1750329"/>
                <a:gd name="connsiteY3" fmla="*/ 1411813 h 1411813"/>
                <a:gd name="connsiteX4" fmla="*/ 1750298 w 1750329"/>
                <a:gd name="connsiteY4" fmla="*/ 661131 h 1411813"/>
                <a:gd name="connsiteX5" fmla="*/ 1636803 w 1750329"/>
                <a:gd name="connsiteY5" fmla="*/ 0 h 1411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0329" h="1411813">
                  <a:moveTo>
                    <a:pt x="1636803" y="0"/>
                  </a:moveTo>
                  <a:lnTo>
                    <a:pt x="0" y="26633"/>
                  </a:lnTo>
                  <a:lnTo>
                    <a:pt x="0" y="1411813"/>
                  </a:lnTo>
                  <a:lnTo>
                    <a:pt x="1632641" y="1411813"/>
                  </a:lnTo>
                  <a:cubicBezTo>
                    <a:pt x="1732361" y="1270024"/>
                    <a:pt x="1749523" y="772146"/>
                    <a:pt x="1750298" y="661131"/>
                  </a:cubicBezTo>
                  <a:cubicBezTo>
                    <a:pt x="1751073" y="550116"/>
                    <a:pt x="1738184" y="176612"/>
                    <a:pt x="1636803" y="0"/>
                  </a:cubicBezTo>
                  <a:close/>
                </a:path>
              </a:pathLst>
            </a:custGeom>
            <a:gradFill>
              <a:gsLst>
                <a:gs pos="50000">
                  <a:srgbClr val="7AC3E1"/>
                </a:gs>
                <a:gs pos="50000">
                  <a:srgbClr val="59B4D9"/>
                </a:gs>
              </a:gsLst>
              <a:lin ang="5400000" scaled="1"/>
            </a:gra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nvGrpSpPr>
            <p:cNvPr id="66" name="Group 65"/>
            <p:cNvGrpSpPr/>
            <p:nvPr/>
          </p:nvGrpSpPr>
          <p:grpSpPr>
            <a:xfrm>
              <a:off x="8270672" y="2767517"/>
              <a:ext cx="318885" cy="479652"/>
              <a:chOff x="7112065" y="1311128"/>
              <a:chExt cx="1047313" cy="1575323"/>
            </a:xfrm>
          </p:grpSpPr>
          <p:sp>
            <p:nvSpPr>
              <p:cNvPr id="67" name="Donut 20"/>
              <p:cNvSpPr/>
              <p:nvPr/>
            </p:nvSpPr>
            <p:spPr>
              <a:xfrm>
                <a:off x="7137042" y="1311128"/>
                <a:ext cx="1022336" cy="1575323"/>
              </a:xfrm>
              <a:custGeom>
                <a:avLst/>
                <a:gdLst>
                  <a:gd name="connsiteX0" fmla="*/ 0 w 564776"/>
                  <a:gd name="connsiteY0" fmla="*/ 773141 h 1546282"/>
                  <a:gd name="connsiteX1" fmla="*/ 282388 w 564776"/>
                  <a:gd name="connsiteY1" fmla="*/ 0 h 1546282"/>
                  <a:gd name="connsiteX2" fmla="*/ 564776 w 564776"/>
                  <a:gd name="connsiteY2" fmla="*/ 773141 h 1546282"/>
                  <a:gd name="connsiteX3" fmla="*/ 282388 w 564776"/>
                  <a:gd name="connsiteY3" fmla="*/ 1546282 h 1546282"/>
                  <a:gd name="connsiteX4" fmla="*/ 0 w 564776"/>
                  <a:gd name="connsiteY4" fmla="*/ 773141 h 1546282"/>
                  <a:gd name="connsiteX5" fmla="*/ 141194 w 564776"/>
                  <a:gd name="connsiteY5" fmla="*/ 773141 h 1546282"/>
                  <a:gd name="connsiteX6" fmla="*/ 282388 w 564776"/>
                  <a:gd name="connsiteY6" fmla="*/ 1405088 h 1546282"/>
                  <a:gd name="connsiteX7" fmla="*/ 423582 w 564776"/>
                  <a:gd name="connsiteY7" fmla="*/ 773141 h 1546282"/>
                  <a:gd name="connsiteX8" fmla="*/ 282388 w 564776"/>
                  <a:gd name="connsiteY8" fmla="*/ 141194 h 1546282"/>
                  <a:gd name="connsiteX9" fmla="*/ 141194 w 564776"/>
                  <a:gd name="connsiteY9" fmla="*/ 773141 h 1546282"/>
                  <a:gd name="connsiteX0" fmla="*/ 0 w 1021976"/>
                  <a:gd name="connsiteY0" fmla="*/ 773388 h 1546735"/>
                  <a:gd name="connsiteX1" fmla="*/ 282388 w 1021976"/>
                  <a:gd name="connsiteY1" fmla="*/ 247 h 1546735"/>
                  <a:gd name="connsiteX2" fmla="*/ 1021976 w 1021976"/>
                  <a:gd name="connsiteY2" fmla="*/ 713230 h 1546735"/>
                  <a:gd name="connsiteX3" fmla="*/ 282388 w 1021976"/>
                  <a:gd name="connsiteY3" fmla="*/ 1546529 h 1546735"/>
                  <a:gd name="connsiteX4" fmla="*/ 0 w 1021976"/>
                  <a:gd name="connsiteY4" fmla="*/ 773388 h 1546735"/>
                  <a:gd name="connsiteX5" fmla="*/ 141194 w 1021976"/>
                  <a:gd name="connsiteY5" fmla="*/ 773388 h 1546735"/>
                  <a:gd name="connsiteX6" fmla="*/ 282388 w 1021976"/>
                  <a:gd name="connsiteY6" fmla="*/ 1405335 h 1546735"/>
                  <a:gd name="connsiteX7" fmla="*/ 423582 w 1021976"/>
                  <a:gd name="connsiteY7" fmla="*/ 773388 h 1546735"/>
                  <a:gd name="connsiteX8" fmla="*/ 282388 w 1021976"/>
                  <a:gd name="connsiteY8" fmla="*/ 141441 h 1546735"/>
                  <a:gd name="connsiteX9" fmla="*/ 141194 w 1021976"/>
                  <a:gd name="connsiteY9" fmla="*/ 773388 h 1546735"/>
                  <a:gd name="connsiteX0" fmla="*/ 0 w 1030213"/>
                  <a:gd name="connsiteY0" fmla="*/ 812464 h 1585811"/>
                  <a:gd name="connsiteX1" fmla="*/ 282388 w 1030213"/>
                  <a:gd name="connsiteY1" fmla="*/ 39323 h 1585811"/>
                  <a:gd name="connsiteX2" fmla="*/ 655149 w 1030213"/>
                  <a:gd name="connsiteY2" fmla="*/ 179798 h 1585811"/>
                  <a:gd name="connsiteX3" fmla="*/ 1021976 w 1030213"/>
                  <a:gd name="connsiteY3" fmla="*/ 752306 h 1585811"/>
                  <a:gd name="connsiteX4" fmla="*/ 282388 w 1030213"/>
                  <a:gd name="connsiteY4" fmla="*/ 1585605 h 1585811"/>
                  <a:gd name="connsiteX5" fmla="*/ 0 w 1030213"/>
                  <a:gd name="connsiteY5" fmla="*/ 812464 h 1585811"/>
                  <a:gd name="connsiteX6" fmla="*/ 141194 w 1030213"/>
                  <a:gd name="connsiteY6" fmla="*/ 812464 h 1585811"/>
                  <a:gd name="connsiteX7" fmla="*/ 282388 w 1030213"/>
                  <a:gd name="connsiteY7" fmla="*/ 1444411 h 1585811"/>
                  <a:gd name="connsiteX8" fmla="*/ 423582 w 1030213"/>
                  <a:gd name="connsiteY8" fmla="*/ 812464 h 1585811"/>
                  <a:gd name="connsiteX9" fmla="*/ 282388 w 1030213"/>
                  <a:gd name="connsiteY9" fmla="*/ 180517 h 1585811"/>
                  <a:gd name="connsiteX10" fmla="*/ 141194 w 1030213"/>
                  <a:gd name="connsiteY10" fmla="*/ 812464 h 1585811"/>
                  <a:gd name="connsiteX0" fmla="*/ 0 w 1041870"/>
                  <a:gd name="connsiteY0" fmla="*/ 870483 h 1643830"/>
                  <a:gd name="connsiteX1" fmla="*/ 282388 w 1041870"/>
                  <a:gd name="connsiteY1" fmla="*/ 97342 h 1643830"/>
                  <a:gd name="connsiteX2" fmla="*/ 783485 w 1041870"/>
                  <a:gd name="connsiteY2" fmla="*/ 89427 h 1643830"/>
                  <a:gd name="connsiteX3" fmla="*/ 1021976 w 1041870"/>
                  <a:gd name="connsiteY3" fmla="*/ 810325 h 1643830"/>
                  <a:gd name="connsiteX4" fmla="*/ 282388 w 1041870"/>
                  <a:gd name="connsiteY4" fmla="*/ 1643624 h 1643830"/>
                  <a:gd name="connsiteX5" fmla="*/ 0 w 1041870"/>
                  <a:gd name="connsiteY5" fmla="*/ 870483 h 1643830"/>
                  <a:gd name="connsiteX6" fmla="*/ 141194 w 1041870"/>
                  <a:gd name="connsiteY6" fmla="*/ 870483 h 1643830"/>
                  <a:gd name="connsiteX7" fmla="*/ 282388 w 1041870"/>
                  <a:gd name="connsiteY7" fmla="*/ 1502430 h 1643830"/>
                  <a:gd name="connsiteX8" fmla="*/ 423582 w 1041870"/>
                  <a:gd name="connsiteY8" fmla="*/ 870483 h 1643830"/>
                  <a:gd name="connsiteX9" fmla="*/ 282388 w 1041870"/>
                  <a:gd name="connsiteY9" fmla="*/ 238536 h 1643830"/>
                  <a:gd name="connsiteX10" fmla="*/ 141194 w 1041870"/>
                  <a:gd name="connsiteY10" fmla="*/ 870483 h 1643830"/>
                  <a:gd name="connsiteX0" fmla="*/ 0 w 1024083"/>
                  <a:gd name="connsiteY0" fmla="*/ 870483 h 1658092"/>
                  <a:gd name="connsiteX1" fmla="*/ 282388 w 1024083"/>
                  <a:gd name="connsiteY1" fmla="*/ 97342 h 1658092"/>
                  <a:gd name="connsiteX2" fmla="*/ 783485 w 1024083"/>
                  <a:gd name="connsiteY2" fmla="*/ 89427 h 1658092"/>
                  <a:gd name="connsiteX3" fmla="*/ 1021976 w 1024083"/>
                  <a:gd name="connsiteY3" fmla="*/ 810325 h 1658092"/>
                  <a:gd name="connsiteX4" fmla="*/ 659158 w 1024083"/>
                  <a:gd name="connsiteY4" fmla="*/ 1332691 h 1658092"/>
                  <a:gd name="connsiteX5" fmla="*/ 282388 w 1024083"/>
                  <a:gd name="connsiteY5" fmla="*/ 1643624 h 1658092"/>
                  <a:gd name="connsiteX6" fmla="*/ 0 w 1024083"/>
                  <a:gd name="connsiteY6" fmla="*/ 870483 h 1658092"/>
                  <a:gd name="connsiteX7" fmla="*/ 141194 w 1024083"/>
                  <a:gd name="connsiteY7" fmla="*/ 870483 h 1658092"/>
                  <a:gd name="connsiteX8" fmla="*/ 282388 w 1024083"/>
                  <a:gd name="connsiteY8" fmla="*/ 1502430 h 1658092"/>
                  <a:gd name="connsiteX9" fmla="*/ 423582 w 1024083"/>
                  <a:gd name="connsiteY9" fmla="*/ 870483 h 1658092"/>
                  <a:gd name="connsiteX10" fmla="*/ 282388 w 1024083"/>
                  <a:gd name="connsiteY10" fmla="*/ 238536 h 1658092"/>
                  <a:gd name="connsiteX11" fmla="*/ 141194 w 1024083"/>
                  <a:gd name="connsiteY11" fmla="*/ 870483 h 1658092"/>
                  <a:gd name="connsiteX0" fmla="*/ 0 w 1059520"/>
                  <a:gd name="connsiteY0" fmla="*/ 870483 h 1709542"/>
                  <a:gd name="connsiteX1" fmla="*/ 282388 w 1059520"/>
                  <a:gd name="connsiteY1" fmla="*/ 97342 h 1709542"/>
                  <a:gd name="connsiteX2" fmla="*/ 783485 w 1059520"/>
                  <a:gd name="connsiteY2" fmla="*/ 89427 h 1709542"/>
                  <a:gd name="connsiteX3" fmla="*/ 1021976 w 1059520"/>
                  <a:gd name="connsiteY3" fmla="*/ 810325 h 1709542"/>
                  <a:gd name="connsiteX4" fmla="*/ 980000 w 1059520"/>
                  <a:gd name="connsiteY4" fmla="*/ 1573322 h 1709542"/>
                  <a:gd name="connsiteX5" fmla="*/ 282388 w 1059520"/>
                  <a:gd name="connsiteY5" fmla="*/ 1643624 h 1709542"/>
                  <a:gd name="connsiteX6" fmla="*/ 0 w 1059520"/>
                  <a:gd name="connsiteY6" fmla="*/ 870483 h 1709542"/>
                  <a:gd name="connsiteX7" fmla="*/ 141194 w 1059520"/>
                  <a:gd name="connsiteY7" fmla="*/ 870483 h 1709542"/>
                  <a:gd name="connsiteX8" fmla="*/ 282388 w 1059520"/>
                  <a:gd name="connsiteY8" fmla="*/ 1502430 h 1709542"/>
                  <a:gd name="connsiteX9" fmla="*/ 423582 w 1059520"/>
                  <a:gd name="connsiteY9" fmla="*/ 870483 h 1709542"/>
                  <a:gd name="connsiteX10" fmla="*/ 282388 w 1059520"/>
                  <a:gd name="connsiteY10" fmla="*/ 238536 h 1709542"/>
                  <a:gd name="connsiteX11" fmla="*/ 141194 w 1059520"/>
                  <a:gd name="connsiteY11" fmla="*/ 870483 h 1709542"/>
                  <a:gd name="connsiteX0" fmla="*/ 0 w 1032546"/>
                  <a:gd name="connsiteY0" fmla="*/ 870483 h 1709542"/>
                  <a:gd name="connsiteX1" fmla="*/ 282388 w 1032546"/>
                  <a:gd name="connsiteY1" fmla="*/ 97342 h 1709542"/>
                  <a:gd name="connsiteX2" fmla="*/ 783485 w 1032546"/>
                  <a:gd name="connsiteY2" fmla="*/ 89427 h 1709542"/>
                  <a:gd name="connsiteX3" fmla="*/ 1021976 w 1032546"/>
                  <a:gd name="connsiteY3" fmla="*/ 810325 h 1709542"/>
                  <a:gd name="connsiteX4" fmla="*/ 980000 w 1032546"/>
                  <a:gd name="connsiteY4" fmla="*/ 1573322 h 1709542"/>
                  <a:gd name="connsiteX5" fmla="*/ 282388 w 1032546"/>
                  <a:gd name="connsiteY5" fmla="*/ 1643624 h 1709542"/>
                  <a:gd name="connsiteX6" fmla="*/ 0 w 1032546"/>
                  <a:gd name="connsiteY6" fmla="*/ 870483 h 1709542"/>
                  <a:gd name="connsiteX7" fmla="*/ 141194 w 1032546"/>
                  <a:gd name="connsiteY7" fmla="*/ 870483 h 1709542"/>
                  <a:gd name="connsiteX8" fmla="*/ 282388 w 1032546"/>
                  <a:gd name="connsiteY8" fmla="*/ 1502430 h 1709542"/>
                  <a:gd name="connsiteX9" fmla="*/ 423582 w 1032546"/>
                  <a:gd name="connsiteY9" fmla="*/ 870483 h 1709542"/>
                  <a:gd name="connsiteX10" fmla="*/ 282388 w 1032546"/>
                  <a:gd name="connsiteY10" fmla="*/ 238536 h 1709542"/>
                  <a:gd name="connsiteX11" fmla="*/ 141194 w 1032546"/>
                  <a:gd name="connsiteY11" fmla="*/ 870483 h 1709542"/>
                  <a:gd name="connsiteX0" fmla="*/ 0 w 1022929"/>
                  <a:gd name="connsiteY0" fmla="*/ 870483 h 1687817"/>
                  <a:gd name="connsiteX1" fmla="*/ 282388 w 1022929"/>
                  <a:gd name="connsiteY1" fmla="*/ 97342 h 1687817"/>
                  <a:gd name="connsiteX2" fmla="*/ 783485 w 1022929"/>
                  <a:gd name="connsiteY2" fmla="*/ 89427 h 1687817"/>
                  <a:gd name="connsiteX3" fmla="*/ 1021976 w 1022929"/>
                  <a:gd name="connsiteY3" fmla="*/ 810325 h 1687817"/>
                  <a:gd name="connsiteX4" fmla="*/ 867705 w 1022929"/>
                  <a:gd name="connsiteY4" fmla="*/ 1509153 h 1687817"/>
                  <a:gd name="connsiteX5" fmla="*/ 282388 w 1022929"/>
                  <a:gd name="connsiteY5" fmla="*/ 1643624 h 1687817"/>
                  <a:gd name="connsiteX6" fmla="*/ 0 w 1022929"/>
                  <a:gd name="connsiteY6" fmla="*/ 870483 h 1687817"/>
                  <a:gd name="connsiteX7" fmla="*/ 141194 w 1022929"/>
                  <a:gd name="connsiteY7" fmla="*/ 870483 h 1687817"/>
                  <a:gd name="connsiteX8" fmla="*/ 282388 w 1022929"/>
                  <a:gd name="connsiteY8" fmla="*/ 1502430 h 1687817"/>
                  <a:gd name="connsiteX9" fmla="*/ 423582 w 1022929"/>
                  <a:gd name="connsiteY9" fmla="*/ 870483 h 1687817"/>
                  <a:gd name="connsiteX10" fmla="*/ 282388 w 1022929"/>
                  <a:gd name="connsiteY10" fmla="*/ 238536 h 1687817"/>
                  <a:gd name="connsiteX11" fmla="*/ 141194 w 1022929"/>
                  <a:gd name="connsiteY11" fmla="*/ 870483 h 1687817"/>
                  <a:gd name="connsiteX0" fmla="*/ 0 w 1025541"/>
                  <a:gd name="connsiteY0" fmla="*/ 870483 h 1694992"/>
                  <a:gd name="connsiteX1" fmla="*/ 282388 w 1025541"/>
                  <a:gd name="connsiteY1" fmla="*/ 97342 h 1694992"/>
                  <a:gd name="connsiteX2" fmla="*/ 783485 w 1025541"/>
                  <a:gd name="connsiteY2" fmla="*/ 89427 h 1694992"/>
                  <a:gd name="connsiteX3" fmla="*/ 1021976 w 1025541"/>
                  <a:gd name="connsiteY3" fmla="*/ 810325 h 1694992"/>
                  <a:gd name="connsiteX4" fmla="*/ 923853 w 1025541"/>
                  <a:gd name="connsiteY4" fmla="*/ 1533216 h 1694992"/>
                  <a:gd name="connsiteX5" fmla="*/ 282388 w 1025541"/>
                  <a:gd name="connsiteY5" fmla="*/ 1643624 h 1694992"/>
                  <a:gd name="connsiteX6" fmla="*/ 0 w 1025541"/>
                  <a:gd name="connsiteY6" fmla="*/ 870483 h 1694992"/>
                  <a:gd name="connsiteX7" fmla="*/ 141194 w 1025541"/>
                  <a:gd name="connsiteY7" fmla="*/ 870483 h 1694992"/>
                  <a:gd name="connsiteX8" fmla="*/ 282388 w 1025541"/>
                  <a:gd name="connsiteY8" fmla="*/ 1502430 h 1694992"/>
                  <a:gd name="connsiteX9" fmla="*/ 423582 w 1025541"/>
                  <a:gd name="connsiteY9" fmla="*/ 870483 h 1694992"/>
                  <a:gd name="connsiteX10" fmla="*/ 282388 w 1025541"/>
                  <a:gd name="connsiteY10" fmla="*/ 238536 h 1694992"/>
                  <a:gd name="connsiteX11" fmla="*/ 141194 w 1025541"/>
                  <a:gd name="connsiteY11" fmla="*/ 870483 h 1694992"/>
                  <a:gd name="connsiteX0" fmla="*/ 0 w 1024521"/>
                  <a:gd name="connsiteY0" fmla="*/ 870483 h 1691271"/>
                  <a:gd name="connsiteX1" fmla="*/ 282388 w 1024521"/>
                  <a:gd name="connsiteY1" fmla="*/ 97342 h 1691271"/>
                  <a:gd name="connsiteX2" fmla="*/ 783485 w 1024521"/>
                  <a:gd name="connsiteY2" fmla="*/ 89427 h 1691271"/>
                  <a:gd name="connsiteX3" fmla="*/ 1021976 w 1024521"/>
                  <a:gd name="connsiteY3" fmla="*/ 810325 h 1691271"/>
                  <a:gd name="connsiteX4" fmla="*/ 907811 w 1024521"/>
                  <a:gd name="connsiteY4" fmla="*/ 1521185 h 1691271"/>
                  <a:gd name="connsiteX5" fmla="*/ 282388 w 1024521"/>
                  <a:gd name="connsiteY5" fmla="*/ 1643624 h 1691271"/>
                  <a:gd name="connsiteX6" fmla="*/ 0 w 1024521"/>
                  <a:gd name="connsiteY6" fmla="*/ 870483 h 1691271"/>
                  <a:gd name="connsiteX7" fmla="*/ 141194 w 1024521"/>
                  <a:gd name="connsiteY7" fmla="*/ 870483 h 1691271"/>
                  <a:gd name="connsiteX8" fmla="*/ 282388 w 1024521"/>
                  <a:gd name="connsiteY8" fmla="*/ 1502430 h 1691271"/>
                  <a:gd name="connsiteX9" fmla="*/ 423582 w 1024521"/>
                  <a:gd name="connsiteY9" fmla="*/ 870483 h 1691271"/>
                  <a:gd name="connsiteX10" fmla="*/ 282388 w 1024521"/>
                  <a:gd name="connsiteY10" fmla="*/ 238536 h 1691271"/>
                  <a:gd name="connsiteX11" fmla="*/ 141194 w 1024521"/>
                  <a:gd name="connsiteY11" fmla="*/ 870483 h 1691271"/>
                  <a:gd name="connsiteX0" fmla="*/ 0 w 1026787"/>
                  <a:gd name="connsiteY0" fmla="*/ 870483 h 1691271"/>
                  <a:gd name="connsiteX1" fmla="*/ 282388 w 1026787"/>
                  <a:gd name="connsiteY1" fmla="*/ 97342 h 1691271"/>
                  <a:gd name="connsiteX2" fmla="*/ 783485 w 1026787"/>
                  <a:gd name="connsiteY2" fmla="*/ 89427 h 1691271"/>
                  <a:gd name="connsiteX3" fmla="*/ 1021976 w 1026787"/>
                  <a:gd name="connsiteY3" fmla="*/ 810325 h 1691271"/>
                  <a:gd name="connsiteX4" fmla="*/ 907811 w 1026787"/>
                  <a:gd name="connsiteY4" fmla="*/ 1521185 h 1691271"/>
                  <a:gd name="connsiteX5" fmla="*/ 282388 w 1026787"/>
                  <a:gd name="connsiteY5" fmla="*/ 1643624 h 1691271"/>
                  <a:gd name="connsiteX6" fmla="*/ 0 w 1026787"/>
                  <a:gd name="connsiteY6" fmla="*/ 870483 h 1691271"/>
                  <a:gd name="connsiteX7" fmla="*/ 141194 w 1026787"/>
                  <a:gd name="connsiteY7" fmla="*/ 870483 h 1691271"/>
                  <a:gd name="connsiteX8" fmla="*/ 282388 w 1026787"/>
                  <a:gd name="connsiteY8" fmla="*/ 1502430 h 1691271"/>
                  <a:gd name="connsiteX9" fmla="*/ 423582 w 1026787"/>
                  <a:gd name="connsiteY9" fmla="*/ 870483 h 1691271"/>
                  <a:gd name="connsiteX10" fmla="*/ 282388 w 1026787"/>
                  <a:gd name="connsiteY10" fmla="*/ 238536 h 1691271"/>
                  <a:gd name="connsiteX11" fmla="*/ 141194 w 1026787"/>
                  <a:gd name="connsiteY11" fmla="*/ 870483 h 1691271"/>
                  <a:gd name="connsiteX0" fmla="*/ 0 w 1024000"/>
                  <a:gd name="connsiteY0" fmla="*/ 870483 h 1706351"/>
                  <a:gd name="connsiteX1" fmla="*/ 282388 w 1024000"/>
                  <a:gd name="connsiteY1" fmla="*/ 97342 h 1706351"/>
                  <a:gd name="connsiteX2" fmla="*/ 783485 w 1024000"/>
                  <a:gd name="connsiteY2" fmla="*/ 89427 h 1706351"/>
                  <a:gd name="connsiteX3" fmla="*/ 1021976 w 1024000"/>
                  <a:gd name="connsiteY3" fmla="*/ 810325 h 1706351"/>
                  <a:gd name="connsiteX4" fmla="*/ 875727 w 1024000"/>
                  <a:gd name="connsiteY4" fmla="*/ 1565300 h 1706351"/>
                  <a:gd name="connsiteX5" fmla="*/ 282388 w 1024000"/>
                  <a:gd name="connsiteY5" fmla="*/ 1643624 h 1706351"/>
                  <a:gd name="connsiteX6" fmla="*/ 0 w 1024000"/>
                  <a:gd name="connsiteY6" fmla="*/ 870483 h 1706351"/>
                  <a:gd name="connsiteX7" fmla="*/ 141194 w 1024000"/>
                  <a:gd name="connsiteY7" fmla="*/ 870483 h 1706351"/>
                  <a:gd name="connsiteX8" fmla="*/ 282388 w 1024000"/>
                  <a:gd name="connsiteY8" fmla="*/ 1502430 h 1706351"/>
                  <a:gd name="connsiteX9" fmla="*/ 423582 w 1024000"/>
                  <a:gd name="connsiteY9" fmla="*/ 870483 h 1706351"/>
                  <a:gd name="connsiteX10" fmla="*/ 282388 w 1024000"/>
                  <a:gd name="connsiteY10" fmla="*/ 238536 h 1706351"/>
                  <a:gd name="connsiteX11" fmla="*/ 141194 w 1024000"/>
                  <a:gd name="connsiteY11" fmla="*/ 870483 h 1706351"/>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792183 h 1628051"/>
                  <a:gd name="connsiteX1" fmla="*/ 282388 w 1024000"/>
                  <a:gd name="connsiteY1" fmla="*/ 19042 h 1628051"/>
                  <a:gd name="connsiteX2" fmla="*/ 783485 w 1024000"/>
                  <a:gd name="connsiteY2" fmla="*/ 11127 h 1628051"/>
                  <a:gd name="connsiteX3" fmla="*/ 1021976 w 1024000"/>
                  <a:gd name="connsiteY3" fmla="*/ 732025 h 1628051"/>
                  <a:gd name="connsiteX4" fmla="*/ 875727 w 1024000"/>
                  <a:gd name="connsiteY4" fmla="*/ 1487000 h 1628051"/>
                  <a:gd name="connsiteX5" fmla="*/ 282388 w 1024000"/>
                  <a:gd name="connsiteY5" fmla="*/ 1565324 h 1628051"/>
                  <a:gd name="connsiteX6" fmla="*/ 0 w 1024000"/>
                  <a:gd name="connsiteY6" fmla="*/ 792183 h 1628051"/>
                  <a:gd name="connsiteX7" fmla="*/ 141194 w 1024000"/>
                  <a:gd name="connsiteY7" fmla="*/ 792183 h 1628051"/>
                  <a:gd name="connsiteX8" fmla="*/ 282388 w 1024000"/>
                  <a:gd name="connsiteY8" fmla="*/ 1424130 h 1628051"/>
                  <a:gd name="connsiteX9" fmla="*/ 423582 w 1024000"/>
                  <a:gd name="connsiteY9" fmla="*/ 792183 h 1628051"/>
                  <a:gd name="connsiteX10" fmla="*/ 282388 w 1024000"/>
                  <a:gd name="connsiteY10" fmla="*/ 160236 h 1628051"/>
                  <a:gd name="connsiteX11" fmla="*/ 141194 w 1024000"/>
                  <a:gd name="connsiteY11" fmla="*/ 792183 h 1628051"/>
                  <a:gd name="connsiteX0" fmla="*/ 0 w 1024000"/>
                  <a:gd name="connsiteY0" fmla="*/ 779274 h 1615142"/>
                  <a:gd name="connsiteX1" fmla="*/ 282388 w 1024000"/>
                  <a:gd name="connsiteY1" fmla="*/ 6133 h 1615142"/>
                  <a:gd name="connsiteX2" fmla="*/ 783485 w 1024000"/>
                  <a:gd name="connsiteY2" fmla="*/ 18271 h 1615142"/>
                  <a:gd name="connsiteX3" fmla="*/ 1021976 w 1024000"/>
                  <a:gd name="connsiteY3" fmla="*/ 719116 h 1615142"/>
                  <a:gd name="connsiteX4" fmla="*/ 875727 w 1024000"/>
                  <a:gd name="connsiteY4" fmla="*/ 1474091 h 1615142"/>
                  <a:gd name="connsiteX5" fmla="*/ 282388 w 1024000"/>
                  <a:gd name="connsiteY5" fmla="*/ 1552415 h 1615142"/>
                  <a:gd name="connsiteX6" fmla="*/ 0 w 1024000"/>
                  <a:gd name="connsiteY6" fmla="*/ 779274 h 1615142"/>
                  <a:gd name="connsiteX7" fmla="*/ 141194 w 1024000"/>
                  <a:gd name="connsiteY7" fmla="*/ 779274 h 1615142"/>
                  <a:gd name="connsiteX8" fmla="*/ 282388 w 1024000"/>
                  <a:gd name="connsiteY8" fmla="*/ 1411221 h 1615142"/>
                  <a:gd name="connsiteX9" fmla="*/ 423582 w 1024000"/>
                  <a:gd name="connsiteY9" fmla="*/ 779274 h 1615142"/>
                  <a:gd name="connsiteX10" fmla="*/ 282388 w 1024000"/>
                  <a:gd name="connsiteY10" fmla="*/ 147327 h 1615142"/>
                  <a:gd name="connsiteX11" fmla="*/ 141194 w 1024000"/>
                  <a:gd name="connsiteY11" fmla="*/ 779274 h 1615142"/>
                  <a:gd name="connsiteX0" fmla="*/ 0 w 1024000"/>
                  <a:gd name="connsiteY0" fmla="*/ 792182 h 1628050"/>
                  <a:gd name="connsiteX1" fmla="*/ 282388 w 1024000"/>
                  <a:gd name="connsiteY1" fmla="*/ 19041 h 1628050"/>
                  <a:gd name="connsiteX2" fmla="*/ 783485 w 1024000"/>
                  <a:gd name="connsiteY2" fmla="*/ 11126 h 1628050"/>
                  <a:gd name="connsiteX3" fmla="*/ 1021976 w 1024000"/>
                  <a:gd name="connsiteY3" fmla="*/ 732024 h 1628050"/>
                  <a:gd name="connsiteX4" fmla="*/ 875727 w 1024000"/>
                  <a:gd name="connsiteY4" fmla="*/ 1486999 h 1628050"/>
                  <a:gd name="connsiteX5" fmla="*/ 282388 w 1024000"/>
                  <a:gd name="connsiteY5" fmla="*/ 1565323 h 1628050"/>
                  <a:gd name="connsiteX6" fmla="*/ 0 w 1024000"/>
                  <a:gd name="connsiteY6" fmla="*/ 792182 h 1628050"/>
                  <a:gd name="connsiteX7" fmla="*/ 141194 w 1024000"/>
                  <a:gd name="connsiteY7" fmla="*/ 792182 h 1628050"/>
                  <a:gd name="connsiteX8" fmla="*/ 282388 w 1024000"/>
                  <a:gd name="connsiteY8" fmla="*/ 1424129 h 1628050"/>
                  <a:gd name="connsiteX9" fmla="*/ 423582 w 1024000"/>
                  <a:gd name="connsiteY9" fmla="*/ 792182 h 1628050"/>
                  <a:gd name="connsiteX10" fmla="*/ 282388 w 1024000"/>
                  <a:gd name="connsiteY10" fmla="*/ 160235 h 1628050"/>
                  <a:gd name="connsiteX11" fmla="*/ 141194 w 1024000"/>
                  <a:gd name="connsiteY11" fmla="*/ 792182 h 1628050"/>
                  <a:gd name="connsiteX0" fmla="*/ 334 w 1024334"/>
                  <a:gd name="connsiteY0" fmla="*/ 801704 h 1637572"/>
                  <a:gd name="connsiteX1" fmla="*/ 238606 w 1024334"/>
                  <a:gd name="connsiteY1" fmla="*/ 4500 h 1637572"/>
                  <a:gd name="connsiteX2" fmla="*/ 783819 w 1024334"/>
                  <a:gd name="connsiteY2" fmla="*/ 20648 h 1637572"/>
                  <a:gd name="connsiteX3" fmla="*/ 1022310 w 1024334"/>
                  <a:gd name="connsiteY3" fmla="*/ 741546 h 1637572"/>
                  <a:gd name="connsiteX4" fmla="*/ 876061 w 1024334"/>
                  <a:gd name="connsiteY4" fmla="*/ 1496521 h 1637572"/>
                  <a:gd name="connsiteX5" fmla="*/ 282722 w 1024334"/>
                  <a:gd name="connsiteY5" fmla="*/ 1574845 h 1637572"/>
                  <a:gd name="connsiteX6" fmla="*/ 334 w 1024334"/>
                  <a:gd name="connsiteY6" fmla="*/ 801704 h 1637572"/>
                  <a:gd name="connsiteX7" fmla="*/ 141528 w 1024334"/>
                  <a:gd name="connsiteY7" fmla="*/ 801704 h 1637572"/>
                  <a:gd name="connsiteX8" fmla="*/ 282722 w 1024334"/>
                  <a:gd name="connsiteY8" fmla="*/ 1433651 h 1637572"/>
                  <a:gd name="connsiteX9" fmla="*/ 423916 w 1024334"/>
                  <a:gd name="connsiteY9" fmla="*/ 801704 h 1637572"/>
                  <a:gd name="connsiteX10" fmla="*/ 282722 w 1024334"/>
                  <a:gd name="connsiteY10" fmla="*/ 169757 h 1637572"/>
                  <a:gd name="connsiteX11" fmla="*/ 141528 w 1024334"/>
                  <a:gd name="connsiteY11" fmla="*/ 801704 h 1637572"/>
                  <a:gd name="connsiteX0" fmla="*/ 334 w 1024561"/>
                  <a:gd name="connsiteY0" fmla="*/ 816307 h 1652175"/>
                  <a:gd name="connsiteX1" fmla="*/ 238606 w 1024561"/>
                  <a:gd name="connsiteY1" fmla="*/ 19103 h 1652175"/>
                  <a:gd name="connsiteX2" fmla="*/ 777783 w 1024561"/>
                  <a:gd name="connsiteY2" fmla="*/ 11108 h 1652175"/>
                  <a:gd name="connsiteX3" fmla="*/ 1022310 w 1024561"/>
                  <a:gd name="connsiteY3" fmla="*/ 756149 h 1652175"/>
                  <a:gd name="connsiteX4" fmla="*/ 876061 w 1024561"/>
                  <a:gd name="connsiteY4" fmla="*/ 1511124 h 1652175"/>
                  <a:gd name="connsiteX5" fmla="*/ 282722 w 1024561"/>
                  <a:gd name="connsiteY5" fmla="*/ 1589448 h 1652175"/>
                  <a:gd name="connsiteX6" fmla="*/ 334 w 1024561"/>
                  <a:gd name="connsiteY6" fmla="*/ 816307 h 1652175"/>
                  <a:gd name="connsiteX7" fmla="*/ 141528 w 1024561"/>
                  <a:gd name="connsiteY7" fmla="*/ 816307 h 1652175"/>
                  <a:gd name="connsiteX8" fmla="*/ 282722 w 1024561"/>
                  <a:gd name="connsiteY8" fmla="*/ 1448254 h 1652175"/>
                  <a:gd name="connsiteX9" fmla="*/ 423916 w 1024561"/>
                  <a:gd name="connsiteY9" fmla="*/ 816307 h 1652175"/>
                  <a:gd name="connsiteX10" fmla="*/ 282722 w 1024561"/>
                  <a:gd name="connsiteY10" fmla="*/ 184360 h 1652175"/>
                  <a:gd name="connsiteX11" fmla="*/ 141528 w 1024561"/>
                  <a:gd name="connsiteY11" fmla="*/ 816307 h 1652175"/>
                  <a:gd name="connsiteX0" fmla="*/ 334 w 1024224"/>
                  <a:gd name="connsiteY0" fmla="*/ 809712 h 1645580"/>
                  <a:gd name="connsiteX1" fmla="*/ 238606 w 1024224"/>
                  <a:gd name="connsiteY1" fmla="*/ 12508 h 1645580"/>
                  <a:gd name="connsiteX2" fmla="*/ 786837 w 1024224"/>
                  <a:gd name="connsiteY2" fmla="*/ 13566 h 1645580"/>
                  <a:gd name="connsiteX3" fmla="*/ 1022310 w 1024224"/>
                  <a:gd name="connsiteY3" fmla="*/ 749554 h 1645580"/>
                  <a:gd name="connsiteX4" fmla="*/ 876061 w 1024224"/>
                  <a:gd name="connsiteY4" fmla="*/ 1504529 h 1645580"/>
                  <a:gd name="connsiteX5" fmla="*/ 282722 w 1024224"/>
                  <a:gd name="connsiteY5" fmla="*/ 1582853 h 1645580"/>
                  <a:gd name="connsiteX6" fmla="*/ 334 w 1024224"/>
                  <a:gd name="connsiteY6" fmla="*/ 809712 h 1645580"/>
                  <a:gd name="connsiteX7" fmla="*/ 141528 w 1024224"/>
                  <a:gd name="connsiteY7" fmla="*/ 809712 h 1645580"/>
                  <a:gd name="connsiteX8" fmla="*/ 282722 w 1024224"/>
                  <a:gd name="connsiteY8" fmla="*/ 1441659 h 1645580"/>
                  <a:gd name="connsiteX9" fmla="*/ 423916 w 1024224"/>
                  <a:gd name="connsiteY9" fmla="*/ 809712 h 1645580"/>
                  <a:gd name="connsiteX10" fmla="*/ 282722 w 1024224"/>
                  <a:gd name="connsiteY10" fmla="*/ 177765 h 1645580"/>
                  <a:gd name="connsiteX11" fmla="*/ 141528 w 1024224"/>
                  <a:gd name="connsiteY11" fmla="*/ 809712 h 1645580"/>
                  <a:gd name="connsiteX0" fmla="*/ 334 w 1024224"/>
                  <a:gd name="connsiteY0" fmla="*/ 800969 h 1636837"/>
                  <a:gd name="connsiteX1" fmla="*/ 238606 w 1024224"/>
                  <a:gd name="connsiteY1" fmla="*/ 3765 h 1636837"/>
                  <a:gd name="connsiteX2" fmla="*/ 786837 w 1024224"/>
                  <a:gd name="connsiteY2" fmla="*/ 4823 h 1636837"/>
                  <a:gd name="connsiteX3" fmla="*/ 1022310 w 1024224"/>
                  <a:gd name="connsiteY3" fmla="*/ 740811 h 1636837"/>
                  <a:gd name="connsiteX4" fmla="*/ 876061 w 1024224"/>
                  <a:gd name="connsiteY4" fmla="*/ 1495786 h 1636837"/>
                  <a:gd name="connsiteX5" fmla="*/ 282722 w 1024224"/>
                  <a:gd name="connsiteY5" fmla="*/ 1574110 h 1636837"/>
                  <a:gd name="connsiteX6" fmla="*/ 334 w 1024224"/>
                  <a:gd name="connsiteY6" fmla="*/ 800969 h 1636837"/>
                  <a:gd name="connsiteX7" fmla="*/ 141528 w 1024224"/>
                  <a:gd name="connsiteY7" fmla="*/ 800969 h 1636837"/>
                  <a:gd name="connsiteX8" fmla="*/ 282722 w 1024224"/>
                  <a:gd name="connsiteY8" fmla="*/ 1432916 h 1636837"/>
                  <a:gd name="connsiteX9" fmla="*/ 423916 w 1024224"/>
                  <a:gd name="connsiteY9" fmla="*/ 800969 h 1636837"/>
                  <a:gd name="connsiteX10" fmla="*/ 282722 w 1024224"/>
                  <a:gd name="connsiteY10" fmla="*/ 169022 h 1636837"/>
                  <a:gd name="connsiteX11" fmla="*/ 141528 w 1024224"/>
                  <a:gd name="connsiteY11" fmla="*/ 800969 h 1636837"/>
                  <a:gd name="connsiteX0" fmla="*/ 334 w 1024224"/>
                  <a:gd name="connsiteY0" fmla="*/ 804626 h 1640494"/>
                  <a:gd name="connsiteX1" fmla="*/ 238606 w 1024224"/>
                  <a:gd name="connsiteY1" fmla="*/ 7422 h 1640494"/>
                  <a:gd name="connsiteX2" fmla="*/ 786837 w 1024224"/>
                  <a:gd name="connsiteY2" fmla="*/ 2444 h 1640494"/>
                  <a:gd name="connsiteX3" fmla="*/ 1022310 w 1024224"/>
                  <a:gd name="connsiteY3" fmla="*/ 744468 h 1640494"/>
                  <a:gd name="connsiteX4" fmla="*/ 876061 w 1024224"/>
                  <a:gd name="connsiteY4" fmla="*/ 1499443 h 1640494"/>
                  <a:gd name="connsiteX5" fmla="*/ 282722 w 1024224"/>
                  <a:gd name="connsiteY5" fmla="*/ 1577767 h 1640494"/>
                  <a:gd name="connsiteX6" fmla="*/ 334 w 1024224"/>
                  <a:gd name="connsiteY6" fmla="*/ 804626 h 1640494"/>
                  <a:gd name="connsiteX7" fmla="*/ 141528 w 1024224"/>
                  <a:gd name="connsiteY7" fmla="*/ 804626 h 1640494"/>
                  <a:gd name="connsiteX8" fmla="*/ 282722 w 1024224"/>
                  <a:gd name="connsiteY8" fmla="*/ 1436573 h 1640494"/>
                  <a:gd name="connsiteX9" fmla="*/ 423916 w 1024224"/>
                  <a:gd name="connsiteY9" fmla="*/ 804626 h 1640494"/>
                  <a:gd name="connsiteX10" fmla="*/ 282722 w 1024224"/>
                  <a:gd name="connsiteY10" fmla="*/ 172679 h 1640494"/>
                  <a:gd name="connsiteX11" fmla="*/ 141528 w 1024224"/>
                  <a:gd name="connsiteY11" fmla="*/ 804626 h 1640494"/>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75323"/>
                  <a:gd name="connsiteX1" fmla="*/ 238606 w 1024224"/>
                  <a:gd name="connsiteY1" fmla="*/ 4978 h 1575323"/>
                  <a:gd name="connsiteX2" fmla="*/ 786837 w 1024224"/>
                  <a:gd name="connsiteY2" fmla="*/ 0 h 1575323"/>
                  <a:gd name="connsiteX3" fmla="*/ 1022310 w 1024224"/>
                  <a:gd name="connsiteY3" fmla="*/ 742024 h 1575323"/>
                  <a:gd name="connsiteX4" fmla="*/ 876061 w 1024224"/>
                  <a:gd name="connsiteY4" fmla="*/ 1496999 h 1575323"/>
                  <a:gd name="connsiteX5" fmla="*/ 282722 w 1024224"/>
                  <a:gd name="connsiteY5" fmla="*/ 1575323 h 1575323"/>
                  <a:gd name="connsiteX6" fmla="*/ 334 w 1024224"/>
                  <a:gd name="connsiteY6" fmla="*/ 802182 h 1575323"/>
                  <a:gd name="connsiteX7" fmla="*/ 141528 w 1024224"/>
                  <a:gd name="connsiteY7" fmla="*/ 802182 h 1575323"/>
                  <a:gd name="connsiteX8" fmla="*/ 282722 w 1024224"/>
                  <a:gd name="connsiteY8" fmla="*/ 1434129 h 1575323"/>
                  <a:gd name="connsiteX9" fmla="*/ 423916 w 1024224"/>
                  <a:gd name="connsiteY9" fmla="*/ 802182 h 1575323"/>
                  <a:gd name="connsiteX10" fmla="*/ 282722 w 1024224"/>
                  <a:gd name="connsiteY10" fmla="*/ 170235 h 1575323"/>
                  <a:gd name="connsiteX11" fmla="*/ 141528 w 1024224"/>
                  <a:gd name="connsiteY11" fmla="*/ 802182 h 1575323"/>
                  <a:gd name="connsiteX0" fmla="*/ 334 w 1022370"/>
                  <a:gd name="connsiteY0" fmla="*/ 802182 h 1591544"/>
                  <a:gd name="connsiteX1" fmla="*/ 238606 w 1022370"/>
                  <a:gd name="connsiteY1" fmla="*/ 4978 h 1591544"/>
                  <a:gd name="connsiteX2" fmla="*/ 786837 w 1022370"/>
                  <a:gd name="connsiteY2" fmla="*/ 0 h 1591544"/>
                  <a:gd name="connsiteX3" fmla="*/ 1022310 w 1022370"/>
                  <a:gd name="connsiteY3" fmla="*/ 742024 h 1591544"/>
                  <a:gd name="connsiteX4" fmla="*/ 806651 w 1022370"/>
                  <a:gd name="connsiteY4" fmla="*/ 1578480 h 1591544"/>
                  <a:gd name="connsiteX5" fmla="*/ 282722 w 1022370"/>
                  <a:gd name="connsiteY5" fmla="*/ 1575323 h 1591544"/>
                  <a:gd name="connsiteX6" fmla="*/ 334 w 1022370"/>
                  <a:gd name="connsiteY6" fmla="*/ 802182 h 1591544"/>
                  <a:gd name="connsiteX7" fmla="*/ 141528 w 1022370"/>
                  <a:gd name="connsiteY7" fmla="*/ 802182 h 1591544"/>
                  <a:gd name="connsiteX8" fmla="*/ 282722 w 1022370"/>
                  <a:gd name="connsiteY8" fmla="*/ 1434129 h 1591544"/>
                  <a:gd name="connsiteX9" fmla="*/ 423916 w 1022370"/>
                  <a:gd name="connsiteY9" fmla="*/ 802182 h 1591544"/>
                  <a:gd name="connsiteX10" fmla="*/ 282722 w 1022370"/>
                  <a:gd name="connsiteY10" fmla="*/ 170235 h 1591544"/>
                  <a:gd name="connsiteX11" fmla="*/ 141528 w 1022370"/>
                  <a:gd name="connsiteY11" fmla="*/ 802182 h 1591544"/>
                  <a:gd name="connsiteX0" fmla="*/ 334 w 1022310"/>
                  <a:gd name="connsiteY0" fmla="*/ 802182 h 1576985"/>
                  <a:gd name="connsiteX1" fmla="*/ 238606 w 1022310"/>
                  <a:gd name="connsiteY1" fmla="*/ 4978 h 1576985"/>
                  <a:gd name="connsiteX2" fmla="*/ 786837 w 1022310"/>
                  <a:gd name="connsiteY2" fmla="*/ 0 h 1576985"/>
                  <a:gd name="connsiteX3" fmla="*/ 1022310 w 1022310"/>
                  <a:gd name="connsiteY3" fmla="*/ 742024 h 1576985"/>
                  <a:gd name="connsiteX4" fmla="*/ 788544 w 1022310"/>
                  <a:gd name="connsiteY4" fmla="*/ 1557355 h 1576985"/>
                  <a:gd name="connsiteX5" fmla="*/ 282722 w 1022310"/>
                  <a:gd name="connsiteY5" fmla="*/ 1575323 h 1576985"/>
                  <a:gd name="connsiteX6" fmla="*/ 334 w 1022310"/>
                  <a:gd name="connsiteY6" fmla="*/ 802182 h 1576985"/>
                  <a:gd name="connsiteX7" fmla="*/ 141528 w 1022310"/>
                  <a:gd name="connsiteY7" fmla="*/ 802182 h 1576985"/>
                  <a:gd name="connsiteX8" fmla="*/ 282722 w 1022310"/>
                  <a:gd name="connsiteY8" fmla="*/ 1434129 h 1576985"/>
                  <a:gd name="connsiteX9" fmla="*/ 423916 w 1022310"/>
                  <a:gd name="connsiteY9" fmla="*/ 802182 h 1576985"/>
                  <a:gd name="connsiteX10" fmla="*/ 282722 w 1022310"/>
                  <a:gd name="connsiteY10" fmla="*/ 170235 h 1576985"/>
                  <a:gd name="connsiteX11" fmla="*/ 141528 w 1022310"/>
                  <a:gd name="connsiteY11" fmla="*/ 802182 h 1576985"/>
                  <a:gd name="connsiteX0" fmla="*/ 334 w 1022310"/>
                  <a:gd name="connsiteY0" fmla="*/ 802182 h 1575323"/>
                  <a:gd name="connsiteX1" fmla="*/ 238606 w 1022310"/>
                  <a:gd name="connsiteY1" fmla="*/ 4978 h 1575323"/>
                  <a:gd name="connsiteX2" fmla="*/ 786837 w 1022310"/>
                  <a:gd name="connsiteY2" fmla="*/ 0 h 1575323"/>
                  <a:gd name="connsiteX3" fmla="*/ 1022310 w 1022310"/>
                  <a:gd name="connsiteY3" fmla="*/ 742024 h 1575323"/>
                  <a:gd name="connsiteX4" fmla="*/ 788544 w 1022310"/>
                  <a:gd name="connsiteY4" fmla="*/ 1557355 h 1575323"/>
                  <a:gd name="connsiteX5" fmla="*/ 282722 w 1022310"/>
                  <a:gd name="connsiteY5" fmla="*/ 1575323 h 1575323"/>
                  <a:gd name="connsiteX6" fmla="*/ 334 w 1022310"/>
                  <a:gd name="connsiteY6" fmla="*/ 802182 h 1575323"/>
                  <a:gd name="connsiteX7" fmla="*/ 141528 w 1022310"/>
                  <a:gd name="connsiteY7" fmla="*/ 802182 h 1575323"/>
                  <a:gd name="connsiteX8" fmla="*/ 282722 w 1022310"/>
                  <a:gd name="connsiteY8" fmla="*/ 1434129 h 1575323"/>
                  <a:gd name="connsiteX9" fmla="*/ 423916 w 1022310"/>
                  <a:gd name="connsiteY9" fmla="*/ 802182 h 1575323"/>
                  <a:gd name="connsiteX10" fmla="*/ 282722 w 1022310"/>
                  <a:gd name="connsiteY10" fmla="*/ 170235 h 1575323"/>
                  <a:gd name="connsiteX11" fmla="*/ 141528 w 1022310"/>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538594 w 1022336"/>
                  <a:gd name="connsiteY9" fmla="*/ 77502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51077 w 1022336"/>
                  <a:gd name="connsiteY9" fmla="*/ 765968 h 1575323"/>
                  <a:gd name="connsiteX10" fmla="*/ 258579 w 1022336"/>
                  <a:gd name="connsiteY10" fmla="*/ 227573 h 1575323"/>
                  <a:gd name="connsiteX11" fmla="*/ 141528 w 1022336"/>
                  <a:gd name="connsiteY11" fmla="*/ 802182 h 15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36" h="1575323">
                    <a:moveTo>
                      <a:pt x="334" y="802182"/>
                    </a:moveTo>
                    <a:cubicBezTo>
                      <a:pt x="-7019" y="540458"/>
                      <a:pt x="108025" y="135154"/>
                      <a:pt x="238606" y="4978"/>
                    </a:cubicBezTo>
                    <a:cubicBezTo>
                      <a:pt x="369187" y="-872"/>
                      <a:pt x="618463" y="6608"/>
                      <a:pt x="786837" y="0"/>
                    </a:cubicBezTo>
                    <a:cubicBezTo>
                      <a:pt x="940280" y="112795"/>
                      <a:pt x="1024037" y="479950"/>
                      <a:pt x="1022310" y="742024"/>
                    </a:cubicBezTo>
                    <a:cubicBezTo>
                      <a:pt x="1020583" y="1004098"/>
                      <a:pt x="927017" y="1342352"/>
                      <a:pt x="776473" y="1572444"/>
                    </a:cubicBezTo>
                    <a:cubicBezTo>
                      <a:pt x="610959" y="1575525"/>
                      <a:pt x="470925" y="1570413"/>
                      <a:pt x="282722" y="1575323"/>
                    </a:cubicBezTo>
                    <a:cubicBezTo>
                      <a:pt x="136768" y="1459520"/>
                      <a:pt x="7687" y="1063906"/>
                      <a:pt x="334" y="802182"/>
                    </a:cubicBezTo>
                    <a:close/>
                    <a:moveTo>
                      <a:pt x="141528" y="802182"/>
                    </a:moveTo>
                    <a:cubicBezTo>
                      <a:pt x="142534" y="990700"/>
                      <a:pt x="213024" y="1364719"/>
                      <a:pt x="264615" y="1358683"/>
                    </a:cubicBezTo>
                    <a:cubicBezTo>
                      <a:pt x="316207" y="1352647"/>
                      <a:pt x="451077" y="1114983"/>
                      <a:pt x="451077" y="765968"/>
                    </a:cubicBezTo>
                    <a:cubicBezTo>
                      <a:pt x="451077" y="416953"/>
                      <a:pt x="310171" y="221537"/>
                      <a:pt x="258579" y="227573"/>
                    </a:cubicBezTo>
                    <a:cubicBezTo>
                      <a:pt x="206988" y="233609"/>
                      <a:pt x="140522" y="613664"/>
                      <a:pt x="141528" y="802182"/>
                    </a:cubicBezTo>
                    <a:close/>
                  </a:path>
                </a:pathLst>
              </a:custGeom>
              <a:gradFill>
                <a:gsLst>
                  <a:gs pos="50000">
                    <a:srgbClr val="61ADD1"/>
                  </a:gs>
                  <a:gs pos="50000">
                    <a:srgbClr val="3999C6"/>
                  </a:gs>
                </a:gsLst>
                <a:lin ang="5400000" scaled="1"/>
              </a:gra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nvGrpSpPr>
              <p:cNvPr id="68" name="Group 67"/>
              <p:cNvGrpSpPr/>
              <p:nvPr/>
            </p:nvGrpSpPr>
            <p:grpSpPr>
              <a:xfrm>
                <a:off x="7112065" y="1318671"/>
                <a:ext cx="564776" cy="1567780"/>
                <a:chOff x="7237831" y="1331389"/>
                <a:chExt cx="564776" cy="1567780"/>
              </a:xfrm>
            </p:grpSpPr>
            <p:sp>
              <p:nvSpPr>
                <p:cNvPr id="69" name="Donut 18"/>
                <p:cNvSpPr/>
                <p:nvPr/>
              </p:nvSpPr>
              <p:spPr>
                <a:xfrm>
                  <a:off x="7318503" y="1358784"/>
                  <a:ext cx="461176" cy="1456148"/>
                </a:xfrm>
                <a:custGeom>
                  <a:avLst/>
                  <a:gdLst>
                    <a:gd name="connsiteX0" fmla="*/ 0 w 774919"/>
                    <a:gd name="connsiteY0" fmla="*/ 763919 h 1527838"/>
                    <a:gd name="connsiteX1" fmla="*/ 387460 w 774919"/>
                    <a:gd name="connsiteY1" fmla="*/ 0 h 1527838"/>
                    <a:gd name="connsiteX2" fmla="*/ 774920 w 774919"/>
                    <a:gd name="connsiteY2" fmla="*/ 763919 h 1527838"/>
                    <a:gd name="connsiteX3" fmla="*/ 387460 w 774919"/>
                    <a:gd name="connsiteY3" fmla="*/ 1527838 h 1527838"/>
                    <a:gd name="connsiteX4" fmla="*/ 0 w 774919"/>
                    <a:gd name="connsiteY4" fmla="*/ 763919 h 1527838"/>
                    <a:gd name="connsiteX5" fmla="*/ 347326 w 774919"/>
                    <a:gd name="connsiteY5" fmla="*/ 763919 h 1527838"/>
                    <a:gd name="connsiteX6" fmla="*/ 387459 w 774919"/>
                    <a:gd name="connsiteY6" fmla="*/ 1180512 h 1527838"/>
                    <a:gd name="connsiteX7" fmla="*/ 427592 w 774919"/>
                    <a:gd name="connsiteY7" fmla="*/ 763919 h 1527838"/>
                    <a:gd name="connsiteX8" fmla="*/ 387459 w 774919"/>
                    <a:gd name="connsiteY8" fmla="*/ 347326 h 1527838"/>
                    <a:gd name="connsiteX9" fmla="*/ 347326 w 774919"/>
                    <a:gd name="connsiteY9" fmla="*/ 763919 h 1527838"/>
                    <a:gd name="connsiteX0" fmla="*/ 0 w 541837"/>
                    <a:gd name="connsiteY0" fmla="*/ 763939 h 1527877"/>
                    <a:gd name="connsiteX1" fmla="*/ 387460 w 541837"/>
                    <a:gd name="connsiteY1" fmla="*/ 20 h 1527877"/>
                    <a:gd name="connsiteX2" fmla="*/ 541837 w 541837"/>
                    <a:gd name="connsiteY2" fmla="*/ 746010 h 1527877"/>
                    <a:gd name="connsiteX3" fmla="*/ 387460 w 541837"/>
                    <a:gd name="connsiteY3" fmla="*/ 1527858 h 1527877"/>
                    <a:gd name="connsiteX4" fmla="*/ 0 w 541837"/>
                    <a:gd name="connsiteY4" fmla="*/ 763939 h 1527877"/>
                    <a:gd name="connsiteX5" fmla="*/ 347326 w 541837"/>
                    <a:gd name="connsiteY5" fmla="*/ 763939 h 1527877"/>
                    <a:gd name="connsiteX6" fmla="*/ 387459 w 541837"/>
                    <a:gd name="connsiteY6" fmla="*/ 1180532 h 1527877"/>
                    <a:gd name="connsiteX7" fmla="*/ 427592 w 541837"/>
                    <a:gd name="connsiteY7" fmla="*/ 763939 h 1527877"/>
                    <a:gd name="connsiteX8" fmla="*/ 387459 w 541837"/>
                    <a:gd name="connsiteY8" fmla="*/ 347346 h 1527877"/>
                    <a:gd name="connsiteX9" fmla="*/ 347326 w 541837"/>
                    <a:gd name="connsiteY9" fmla="*/ 763939 h 1527877"/>
                    <a:gd name="connsiteX0" fmla="*/ 324 w 543143"/>
                    <a:gd name="connsiteY0" fmla="*/ 754968 h 1518899"/>
                    <a:gd name="connsiteX1" fmla="*/ 325031 w 543143"/>
                    <a:gd name="connsiteY1" fmla="*/ 14 h 1518899"/>
                    <a:gd name="connsiteX2" fmla="*/ 542161 w 543143"/>
                    <a:gd name="connsiteY2" fmla="*/ 737039 h 1518899"/>
                    <a:gd name="connsiteX3" fmla="*/ 387784 w 543143"/>
                    <a:gd name="connsiteY3" fmla="*/ 1518887 h 1518899"/>
                    <a:gd name="connsiteX4" fmla="*/ 324 w 543143"/>
                    <a:gd name="connsiteY4" fmla="*/ 754968 h 1518899"/>
                    <a:gd name="connsiteX5" fmla="*/ 347650 w 543143"/>
                    <a:gd name="connsiteY5" fmla="*/ 754968 h 1518899"/>
                    <a:gd name="connsiteX6" fmla="*/ 387783 w 543143"/>
                    <a:gd name="connsiteY6" fmla="*/ 1171561 h 1518899"/>
                    <a:gd name="connsiteX7" fmla="*/ 427916 w 543143"/>
                    <a:gd name="connsiteY7" fmla="*/ 754968 h 1518899"/>
                    <a:gd name="connsiteX8" fmla="*/ 387783 w 543143"/>
                    <a:gd name="connsiteY8" fmla="*/ 338375 h 1518899"/>
                    <a:gd name="connsiteX9" fmla="*/ 347650 w 543143"/>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67086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67086 w 462447"/>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31227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31227 w 462447"/>
                    <a:gd name="connsiteY9" fmla="*/ 754968 h 1518899"/>
                    <a:gd name="connsiteX0" fmla="*/ 11 w 461176"/>
                    <a:gd name="connsiteY0" fmla="*/ 754968 h 1456148"/>
                    <a:gd name="connsiteX1" fmla="*/ 244035 w 461176"/>
                    <a:gd name="connsiteY1" fmla="*/ 14 h 1456148"/>
                    <a:gd name="connsiteX2" fmla="*/ 461165 w 461176"/>
                    <a:gd name="connsiteY2" fmla="*/ 737039 h 1456148"/>
                    <a:gd name="connsiteX3" fmla="*/ 235070 w 461176"/>
                    <a:gd name="connsiteY3" fmla="*/ 1456134 h 1456148"/>
                    <a:gd name="connsiteX4" fmla="*/ 11 w 461176"/>
                    <a:gd name="connsiteY4" fmla="*/ 754968 h 1456148"/>
                    <a:gd name="connsiteX5" fmla="*/ 230795 w 461176"/>
                    <a:gd name="connsiteY5" fmla="*/ 754968 h 1456148"/>
                    <a:gd name="connsiteX6" fmla="*/ 306787 w 461176"/>
                    <a:gd name="connsiteY6" fmla="*/ 1171561 h 1456148"/>
                    <a:gd name="connsiteX7" fmla="*/ 346920 w 461176"/>
                    <a:gd name="connsiteY7" fmla="*/ 754968 h 1456148"/>
                    <a:gd name="connsiteX8" fmla="*/ 306787 w 461176"/>
                    <a:gd name="connsiteY8" fmla="*/ 338375 h 1456148"/>
                    <a:gd name="connsiteX9" fmla="*/ 230795 w 461176"/>
                    <a:gd name="connsiteY9" fmla="*/ 754968 h 1456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176" h="1456148">
                      <a:moveTo>
                        <a:pt x="11" y="754968"/>
                      </a:moveTo>
                      <a:cubicBezTo>
                        <a:pt x="1505" y="512281"/>
                        <a:pt x="167176" y="3002"/>
                        <a:pt x="244035" y="14"/>
                      </a:cubicBezTo>
                      <a:cubicBezTo>
                        <a:pt x="320894" y="-2974"/>
                        <a:pt x="462659" y="494352"/>
                        <a:pt x="461165" y="737039"/>
                      </a:cubicBezTo>
                      <a:cubicBezTo>
                        <a:pt x="459671" y="979726"/>
                        <a:pt x="311929" y="1453146"/>
                        <a:pt x="235070" y="1456134"/>
                      </a:cubicBezTo>
                      <a:cubicBezTo>
                        <a:pt x="158211" y="1459122"/>
                        <a:pt x="-1483" y="997655"/>
                        <a:pt x="11" y="754968"/>
                      </a:cubicBezTo>
                      <a:close/>
                      <a:moveTo>
                        <a:pt x="230795" y="754968"/>
                      </a:moveTo>
                      <a:cubicBezTo>
                        <a:pt x="230795" y="985046"/>
                        <a:pt x="287433" y="1171561"/>
                        <a:pt x="306787" y="1171561"/>
                      </a:cubicBezTo>
                      <a:cubicBezTo>
                        <a:pt x="326141" y="1171561"/>
                        <a:pt x="346920" y="985046"/>
                        <a:pt x="346920" y="754968"/>
                      </a:cubicBezTo>
                      <a:cubicBezTo>
                        <a:pt x="346920" y="524890"/>
                        <a:pt x="326141" y="338375"/>
                        <a:pt x="306787" y="338375"/>
                      </a:cubicBezTo>
                      <a:cubicBezTo>
                        <a:pt x="287433" y="338375"/>
                        <a:pt x="230795" y="524890"/>
                        <a:pt x="230795" y="754968"/>
                      </a:cubicBezTo>
                      <a:close/>
                    </a:path>
                  </a:pathLst>
                </a:custGeom>
                <a:solidFill>
                  <a:srgbClr val="7B7A7A"/>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sp>
              <p:nvSpPr>
                <p:cNvPr id="70" name="Donut 69"/>
                <p:cNvSpPr/>
                <p:nvPr/>
              </p:nvSpPr>
              <p:spPr>
                <a:xfrm>
                  <a:off x="7237831" y="1331389"/>
                  <a:ext cx="564776" cy="1567780"/>
                </a:xfrm>
                <a:prstGeom prst="donut">
                  <a:avLst/>
                </a:prstGeom>
                <a:solidFill>
                  <a:srgbClr val="0071C6"/>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grpSp>
        <p:grpSp>
          <p:nvGrpSpPr>
            <p:cNvPr id="7" name="Group 6"/>
            <p:cNvGrpSpPr/>
            <p:nvPr/>
          </p:nvGrpSpPr>
          <p:grpSpPr>
            <a:xfrm>
              <a:off x="8421098" y="2926394"/>
              <a:ext cx="622292" cy="776537"/>
              <a:chOff x="8467245" y="2757788"/>
              <a:chExt cx="622292" cy="776537"/>
            </a:xfrm>
          </p:grpSpPr>
          <p:grpSp>
            <p:nvGrpSpPr>
              <p:cNvPr id="82" name="Group 81"/>
              <p:cNvGrpSpPr/>
              <p:nvPr/>
            </p:nvGrpSpPr>
            <p:grpSpPr>
              <a:xfrm>
                <a:off x="8822263" y="2821623"/>
                <a:ext cx="171962" cy="482437"/>
                <a:chOff x="7237831" y="1331389"/>
                <a:chExt cx="564776" cy="1546282"/>
              </a:xfrm>
            </p:grpSpPr>
            <p:sp>
              <p:nvSpPr>
                <p:cNvPr id="84" name="Donut 18"/>
                <p:cNvSpPr/>
                <p:nvPr/>
              </p:nvSpPr>
              <p:spPr>
                <a:xfrm>
                  <a:off x="7318503" y="1358784"/>
                  <a:ext cx="461176" cy="1456148"/>
                </a:xfrm>
                <a:custGeom>
                  <a:avLst/>
                  <a:gdLst>
                    <a:gd name="connsiteX0" fmla="*/ 0 w 774919"/>
                    <a:gd name="connsiteY0" fmla="*/ 763919 h 1527838"/>
                    <a:gd name="connsiteX1" fmla="*/ 387460 w 774919"/>
                    <a:gd name="connsiteY1" fmla="*/ 0 h 1527838"/>
                    <a:gd name="connsiteX2" fmla="*/ 774920 w 774919"/>
                    <a:gd name="connsiteY2" fmla="*/ 763919 h 1527838"/>
                    <a:gd name="connsiteX3" fmla="*/ 387460 w 774919"/>
                    <a:gd name="connsiteY3" fmla="*/ 1527838 h 1527838"/>
                    <a:gd name="connsiteX4" fmla="*/ 0 w 774919"/>
                    <a:gd name="connsiteY4" fmla="*/ 763919 h 1527838"/>
                    <a:gd name="connsiteX5" fmla="*/ 347326 w 774919"/>
                    <a:gd name="connsiteY5" fmla="*/ 763919 h 1527838"/>
                    <a:gd name="connsiteX6" fmla="*/ 387459 w 774919"/>
                    <a:gd name="connsiteY6" fmla="*/ 1180512 h 1527838"/>
                    <a:gd name="connsiteX7" fmla="*/ 427592 w 774919"/>
                    <a:gd name="connsiteY7" fmla="*/ 763919 h 1527838"/>
                    <a:gd name="connsiteX8" fmla="*/ 387459 w 774919"/>
                    <a:gd name="connsiteY8" fmla="*/ 347326 h 1527838"/>
                    <a:gd name="connsiteX9" fmla="*/ 347326 w 774919"/>
                    <a:gd name="connsiteY9" fmla="*/ 763919 h 1527838"/>
                    <a:gd name="connsiteX0" fmla="*/ 0 w 541837"/>
                    <a:gd name="connsiteY0" fmla="*/ 763939 h 1527877"/>
                    <a:gd name="connsiteX1" fmla="*/ 387460 w 541837"/>
                    <a:gd name="connsiteY1" fmla="*/ 20 h 1527877"/>
                    <a:gd name="connsiteX2" fmla="*/ 541837 w 541837"/>
                    <a:gd name="connsiteY2" fmla="*/ 746010 h 1527877"/>
                    <a:gd name="connsiteX3" fmla="*/ 387460 w 541837"/>
                    <a:gd name="connsiteY3" fmla="*/ 1527858 h 1527877"/>
                    <a:gd name="connsiteX4" fmla="*/ 0 w 541837"/>
                    <a:gd name="connsiteY4" fmla="*/ 763939 h 1527877"/>
                    <a:gd name="connsiteX5" fmla="*/ 347326 w 541837"/>
                    <a:gd name="connsiteY5" fmla="*/ 763939 h 1527877"/>
                    <a:gd name="connsiteX6" fmla="*/ 387459 w 541837"/>
                    <a:gd name="connsiteY6" fmla="*/ 1180532 h 1527877"/>
                    <a:gd name="connsiteX7" fmla="*/ 427592 w 541837"/>
                    <a:gd name="connsiteY7" fmla="*/ 763939 h 1527877"/>
                    <a:gd name="connsiteX8" fmla="*/ 387459 w 541837"/>
                    <a:gd name="connsiteY8" fmla="*/ 347346 h 1527877"/>
                    <a:gd name="connsiteX9" fmla="*/ 347326 w 541837"/>
                    <a:gd name="connsiteY9" fmla="*/ 763939 h 1527877"/>
                    <a:gd name="connsiteX0" fmla="*/ 324 w 543143"/>
                    <a:gd name="connsiteY0" fmla="*/ 754968 h 1518899"/>
                    <a:gd name="connsiteX1" fmla="*/ 325031 w 543143"/>
                    <a:gd name="connsiteY1" fmla="*/ 14 h 1518899"/>
                    <a:gd name="connsiteX2" fmla="*/ 542161 w 543143"/>
                    <a:gd name="connsiteY2" fmla="*/ 737039 h 1518899"/>
                    <a:gd name="connsiteX3" fmla="*/ 387784 w 543143"/>
                    <a:gd name="connsiteY3" fmla="*/ 1518887 h 1518899"/>
                    <a:gd name="connsiteX4" fmla="*/ 324 w 543143"/>
                    <a:gd name="connsiteY4" fmla="*/ 754968 h 1518899"/>
                    <a:gd name="connsiteX5" fmla="*/ 347650 w 543143"/>
                    <a:gd name="connsiteY5" fmla="*/ 754968 h 1518899"/>
                    <a:gd name="connsiteX6" fmla="*/ 387783 w 543143"/>
                    <a:gd name="connsiteY6" fmla="*/ 1171561 h 1518899"/>
                    <a:gd name="connsiteX7" fmla="*/ 427916 w 543143"/>
                    <a:gd name="connsiteY7" fmla="*/ 754968 h 1518899"/>
                    <a:gd name="connsiteX8" fmla="*/ 387783 w 543143"/>
                    <a:gd name="connsiteY8" fmla="*/ 338375 h 1518899"/>
                    <a:gd name="connsiteX9" fmla="*/ 347650 w 543143"/>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67086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67086 w 462447"/>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31227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31227 w 462447"/>
                    <a:gd name="connsiteY9" fmla="*/ 754968 h 1518899"/>
                    <a:gd name="connsiteX0" fmla="*/ 11 w 461176"/>
                    <a:gd name="connsiteY0" fmla="*/ 754968 h 1456148"/>
                    <a:gd name="connsiteX1" fmla="*/ 244035 w 461176"/>
                    <a:gd name="connsiteY1" fmla="*/ 14 h 1456148"/>
                    <a:gd name="connsiteX2" fmla="*/ 461165 w 461176"/>
                    <a:gd name="connsiteY2" fmla="*/ 737039 h 1456148"/>
                    <a:gd name="connsiteX3" fmla="*/ 235070 w 461176"/>
                    <a:gd name="connsiteY3" fmla="*/ 1456134 h 1456148"/>
                    <a:gd name="connsiteX4" fmla="*/ 11 w 461176"/>
                    <a:gd name="connsiteY4" fmla="*/ 754968 h 1456148"/>
                    <a:gd name="connsiteX5" fmla="*/ 230795 w 461176"/>
                    <a:gd name="connsiteY5" fmla="*/ 754968 h 1456148"/>
                    <a:gd name="connsiteX6" fmla="*/ 306787 w 461176"/>
                    <a:gd name="connsiteY6" fmla="*/ 1171561 h 1456148"/>
                    <a:gd name="connsiteX7" fmla="*/ 346920 w 461176"/>
                    <a:gd name="connsiteY7" fmla="*/ 754968 h 1456148"/>
                    <a:gd name="connsiteX8" fmla="*/ 306787 w 461176"/>
                    <a:gd name="connsiteY8" fmla="*/ 338375 h 1456148"/>
                    <a:gd name="connsiteX9" fmla="*/ 230795 w 461176"/>
                    <a:gd name="connsiteY9" fmla="*/ 754968 h 1456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176" h="1456148">
                      <a:moveTo>
                        <a:pt x="11" y="754968"/>
                      </a:moveTo>
                      <a:cubicBezTo>
                        <a:pt x="1505" y="512281"/>
                        <a:pt x="167176" y="3002"/>
                        <a:pt x="244035" y="14"/>
                      </a:cubicBezTo>
                      <a:cubicBezTo>
                        <a:pt x="320894" y="-2974"/>
                        <a:pt x="462659" y="494352"/>
                        <a:pt x="461165" y="737039"/>
                      </a:cubicBezTo>
                      <a:cubicBezTo>
                        <a:pt x="459671" y="979726"/>
                        <a:pt x="311929" y="1453146"/>
                        <a:pt x="235070" y="1456134"/>
                      </a:cubicBezTo>
                      <a:cubicBezTo>
                        <a:pt x="158211" y="1459122"/>
                        <a:pt x="-1483" y="997655"/>
                        <a:pt x="11" y="754968"/>
                      </a:cubicBezTo>
                      <a:close/>
                      <a:moveTo>
                        <a:pt x="230795" y="754968"/>
                      </a:moveTo>
                      <a:cubicBezTo>
                        <a:pt x="230795" y="985046"/>
                        <a:pt x="287433" y="1171561"/>
                        <a:pt x="306787" y="1171561"/>
                      </a:cubicBezTo>
                      <a:cubicBezTo>
                        <a:pt x="326141" y="1171561"/>
                        <a:pt x="346920" y="985046"/>
                        <a:pt x="346920" y="754968"/>
                      </a:cubicBezTo>
                      <a:cubicBezTo>
                        <a:pt x="346920" y="524890"/>
                        <a:pt x="326141" y="338375"/>
                        <a:pt x="306787" y="338375"/>
                      </a:cubicBezTo>
                      <a:cubicBezTo>
                        <a:pt x="287433" y="338375"/>
                        <a:pt x="230795" y="524890"/>
                        <a:pt x="230795" y="754968"/>
                      </a:cubicBezTo>
                      <a:close/>
                    </a:path>
                  </a:pathLst>
                </a:custGeom>
                <a:solidFill>
                  <a:schemeClr val="bg1">
                    <a:lumMod val="50000"/>
                  </a:schemeClr>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sp>
              <p:nvSpPr>
                <p:cNvPr id="85" name="Oval 84"/>
                <p:cNvSpPr/>
                <p:nvPr/>
              </p:nvSpPr>
              <p:spPr>
                <a:xfrm>
                  <a:off x="7237831" y="1331389"/>
                  <a:ext cx="564776" cy="1546282"/>
                </a:xfrm>
                <a:prstGeom prst="ellipse">
                  <a:avLst/>
                </a:prstGeom>
                <a:solidFill>
                  <a:schemeClr val="accent3">
                    <a:lumMod val="50000"/>
                  </a:schemeClr>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sp>
            <p:nvSpPr>
              <p:cNvPr id="86" name="Oval 85"/>
              <p:cNvSpPr/>
              <p:nvPr/>
            </p:nvSpPr>
            <p:spPr>
              <a:xfrm flipH="1">
                <a:off x="8553084" y="2813409"/>
                <a:ext cx="465837" cy="465836"/>
              </a:xfrm>
              <a:prstGeom prst="ellipse">
                <a:avLst/>
              </a:prstGeom>
              <a:solidFill>
                <a:srgbClr val="59B4D9"/>
              </a:solidFill>
              <a:ln w="3175">
                <a:solidFill>
                  <a:schemeClr val="accent3"/>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latin typeface="OCR A Extended" panose="02010509020102010303" pitchFamily="50" charset="0"/>
                </a:endParaRPr>
              </a:p>
            </p:txBody>
          </p:sp>
          <p:grpSp>
            <p:nvGrpSpPr>
              <p:cNvPr id="87" name="Group 86"/>
              <p:cNvGrpSpPr/>
              <p:nvPr/>
            </p:nvGrpSpPr>
            <p:grpSpPr>
              <a:xfrm>
                <a:off x="8596999" y="2798236"/>
                <a:ext cx="377713" cy="446059"/>
                <a:chOff x="3761989" y="1519463"/>
                <a:chExt cx="1533392" cy="1810864"/>
              </a:xfrm>
            </p:grpSpPr>
            <p:sp>
              <p:nvSpPr>
                <p:cNvPr id="89" name="TextBox 88"/>
                <p:cNvSpPr txBox="1"/>
                <p:nvPr/>
              </p:nvSpPr>
              <p:spPr>
                <a:xfrm>
                  <a:off x="3761989" y="1519463"/>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90" name="TextBox 89"/>
                <p:cNvSpPr txBox="1"/>
                <p:nvPr/>
              </p:nvSpPr>
              <p:spPr>
                <a:xfrm>
                  <a:off x="4166386" y="2124170"/>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91" name="TextBox 90"/>
                <p:cNvSpPr txBox="1"/>
                <p:nvPr/>
              </p:nvSpPr>
              <p:spPr>
                <a:xfrm>
                  <a:off x="4975179" y="2124170"/>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92" name="TextBox 91"/>
                <p:cNvSpPr txBox="1"/>
                <p:nvPr/>
              </p:nvSpPr>
              <p:spPr>
                <a:xfrm>
                  <a:off x="4570783" y="1519463"/>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93" name="TextBox 92"/>
                <p:cNvSpPr txBox="1"/>
                <p:nvPr/>
              </p:nvSpPr>
              <p:spPr>
                <a:xfrm>
                  <a:off x="3761989" y="2124170"/>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97" name="TextBox 96"/>
                <p:cNvSpPr txBox="1"/>
                <p:nvPr/>
              </p:nvSpPr>
              <p:spPr>
                <a:xfrm>
                  <a:off x="4975184" y="2699786"/>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98" name="TextBox 97"/>
                <p:cNvSpPr txBox="1"/>
                <p:nvPr/>
              </p:nvSpPr>
              <p:spPr>
                <a:xfrm>
                  <a:off x="4166385" y="1519463"/>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99" name="TextBox 98"/>
                <p:cNvSpPr txBox="1"/>
                <p:nvPr/>
              </p:nvSpPr>
              <p:spPr>
                <a:xfrm>
                  <a:off x="4570780" y="2699791"/>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00" name="TextBox 99"/>
                <p:cNvSpPr txBox="1"/>
                <p:nvPr/>
              </p:nvSpPr>
              <p:spPr>
                <a:xfrm>
                  <a:off x="4570780" y="2124170"/>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01" name="TextBox 100"/>
                <p:cNvSpPr txBox="1"/>
                <p:nvPr/>
              </p:nvSpPr>
              <p:spPr>
                <a:xfrm>
                  <a:off x="4975176" y="1519463"/>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102" name="TextBox 101"/>
                <p:cNvSpPr txBox="1"/>
                <p:nvPr/>
              </p:nvSpPr>
              <p:spPr>
                <a:xfrm>
                  <a:off x="4166384" y="2699791"/>
                  <a:ext cx="320195"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03" name="TextBox 102"/>
                <p:cNvSpPr txBox="1"/>
                <p:nvPr/>
              </p:nvSpPr>
              <p:spPr>
                <a:xfrm>
                  <a:off x="3761994" y="2699791"/>
                  <a:ext cx="320195"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grpSp>
          <p:sp>
            <p:nvSpPr>
              <p:cNvPr id="105" name="Donut 104"/>
              <p:cNvSpPr/>
              <p:nvPr/>
            </p:nvSpPr>
            <p:spPr>
              <a:xfrm>
                <a:off x="8512459" y="2757788"/>
                <a:ext cx="577078" cy="577078"/>
              </a:xfrm>
              <a:prstGeom prst="donut">
                <a:avLst>
                  <a:gd name="adj" fmla="val 12638"/>
                </a:avLst>
              </a:prstGeom>
              <a:solidFill>
                <a:srgbClr val="3E3E3E"/>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accent2">
                      <a:lumMod val="20000"/>
                      <a:lumOff val="80000"/>
                    </a:schemeClr>
                  </a:solidFill>
                  <a:latin typeface="OCR A Extended" panose="02010509020102010303" pitchFamily="50" charset="0"/>
                </a:endParaRPr>
              </a:p>
            </p:txBody>
          </p:sp>
          <p:sp>
            <p:nvSpPr>
              <p:cNvPr id="106" name="Rounded Rectangle 105"/>
              <p:cNvSpPr/>
              <p:nvPr/>
            </p:nvSpPr>
            <p:spPr>
              <a:xfrm rot="18803373">
                <a:off x="8347393" y="3301611"/>
                <a:ext cx="352566" cy="112861"/>
              </a:xfrm>
              <a:prstGeom prst="roundRect">
                <a:avLst>
                  <a:gd name="adj" fmla="val 50000"/>
                </a:avLst>
              </a:prstGeom>
              <a:solidFill>
                <a:srgbClr val="3E3E3E"/>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latin typeface="OCR A Extended" panose="02010509020102010303" pitchFamily="50" charset="0"/>
                </a:endParaRPr>
              </a:p>
            </p:txBody>
          </p:sp>
        </p:grpSp>
        <p:sp>
          <p:nvSpPr>
            <p:cNvPr id="71" name="TextBox 70"/>
            <p:cNvSpPr txBox="1"/>
            <p:nvPr/>
          </p:nvSpPr>
          <p:spPr>
            <a:xfrm>
              <a:off x="7856809" y="2688141"/>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72" name="TextBox 71"/>
            <p:cNvSpPr txBox="1"/>
            <p:nvPr/>
          </p:nvSpPr>
          <p:spPr>
            <a:xfrm>
              <a:off x="7945210" y="3038929"/>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73" name="TextBox 72"/>
            <p:cNvSpPr txBox="1"/>
            <p:nvPr/>
          </p:nvSpPr>
          <p:spPr>
            <a:xfrm>
              <a:off x="8209563" y="3021981"/>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74" name="TextBox 73"/>
            <p:cNvSpPr txBox="1"/>
            <p:nvPr/>
          </p:nvSpPr>
          <p:spPr>
            <a:xfrm>
              <a:off x="8214300" y="2858327"/>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75" name="TextBox 74"/>
            <p:cNvSpPr txBox="1"/>
            <p:nvPr/>
          </p:nvSpPr>
          <p:spPr>
            <a:xfrm>
              <a:off x="7650446" y="2916337"/>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76" name="TextBox 75"/>
            <p:cNvSpPr txBox="1"/>
            <p:nvPr/>
          </p:nvSpPr>
          <p:spPr>
            <a:xfrm>
              <a:off x="8053676" y="2996826"/>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77" name="TextBox 76"/>
            <p:cNvSpPr txBox="1"/>
            <p:nvPr/>
          </p:nvSpPr>
          <p:spPr>
            <a:xfrm>
              <a:off x="7843002" y="2935033"/>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80" name="TextBox 79"/>
            <p:cNvSpPr txBox="1"/>
            <p:nvPr/>
          </p:nvSpPr>
          <p:spPr>
            <a:xfrm>
              <a:off x="8113654" y="2922143"/>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81" name="TextBox 80"/>
            <p:cNvSpPr txBox="1"/>
            <p:nvPr/>
          </p:nvSpPr>
          <p:spPr>
            <a:xfrm>
              <a:off x="8124140" y="2741923"/>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18" name="TextBox 117"/>
            <p:cNvSpPr txBox="1"/>
            <p:nvPr/>
          </p:nvSpPr>
          <p:spPr>
            <a:xfrm>
              <a:off x="7737120" y="2990229"/>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19" name="TextBox 118"/>
            <p:cNvSpPr txBox="1"/>
            <p:nvPr/>
          </p:nvSpPr>
          <p:spPr>
            <a:xfrm>
              <a:off x="7763481" y="2737764"/>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21" name="TextBox 120"/>
            <p:cNvSpPr txBox="1"/>
            <p:nvPr/>
          </p:nvSpPr>
          <p:spPr>
            <a:xfrm>
              <a:off x="7974881" y="2849434"/>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22" name="TextBox 121"/>
            <p:cNvSpPr txBox="1"/>
            <p:nvPr/>
          </p:nvSpPr>
          <p:spPr>
            <a:xfrm>
              <a:off x="7680582" y="2764689"/>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23" name="TextBox 122"/>
            <p:cNvSpPr txBox="1"/>
            <p:nvPr/>
          </p:nvSpPr>
          <p:spPr>
            <a:xfrm>
              <a:off x="7713328" y="3144002"/>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24" name="TextBox 123"/>
            <p:cNvSpPr txBox="1"/>
            <p:nvPr/>
          </p:nvSpPr>
          <p:spPr>
            <a:xfrm>
              <a:off x="7841889" y="3079727"/>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26" name="TextBox 125"/>
            <p:cNvSpPr txBox="1"/>
            <p:nvPr/>
          </p:nvSpPr>
          <p:spPr>
            <a:xfrm>
              <a:off x="8009053" y="2757390"/>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grpSp>
    </p:spTree>
    <p:extLst>
      <p:ext uri="{BB962C8B-B14F-4D97-AF65-F5344CB8AC3E}">
        <p14:creationId xmlns:p14="http://schemas.microsoft.com/office/powerpoint/2010/main" val="637930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5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250"/>
                                        <p:tgtEl>
                                          <p:spTgt spid="41"/>
                                        </p:tgtEl>
                                      </p:cBhvr>
                                    </p:animEffect>
                                  </p:childTnLst>
                                </p:cTn>
                              </p:par>
                              <p:par>
                                <p:cTn id="11" presetID="10" presetClass="entr" presetSubtype="0" fill="hold" nodeType="withEffect">
                                  <p:stCondLst>
                                    <p:cond delay="0"/>
                                  </p:stCondLst>
                                  <p:childTnLst>
                                    <p:set>
                                      <p:cBhvr>
                                        <p:cTn id="12" dur="1" fill="hold">
                                          <p:stCondLst>
                                            <p:cond delay="0"/>
                                          </p:stCondLst>
                                        </p:cTn>
                                        <p:tgtEl>
                                          <p:spTgt spid="44"/>
                                        </p:tgtEl>
                                        <p:attrNameLst>
                                          <p:attrName>style.visibility</p:attrName>
                                        </p:attrNameLst>
                                      </p:cBhvr>
                                      <p:to>
                                        <p:strVal val="visible"/>
                                      </p:to>
                                    </p:set>
                                    <p:animEffect transition="in" filter="fade">
                                      <p:cBhvr>
                                        <p:cTn id="13" dur="250"/>
                                        <p:tgtEl>
                                          <p:spTgt spid="44"/>
                                        </p:tgtEl>
                                      </p:cBhvr>
                                    </p:animEffect>
                                  </p:childTnLst>
                                </p:cTn>
                              </p:par>
                              <p:par>
                                <p:cTn id="14" presetID="10" presetClass="entr" presetSubtype="0" fill="hold" nodeType="withEffect">
                                  <p:stCondLst>
                                    <p:cond delay="0"/>
                                  </p:stCondLst>
                                  <p:childTnLst>
                                    <p:set>
                                      <p:cBhvr>
                                        <p:cTn id="15" dur="1" fill="hold">
                                          <p:stCondLst>
                                            <p:cond delay="0"/>
                                          </p:stCondLst>
                                        </p:cTn>
                                        <p:tgtEl>
                                          <p:spTgt spid="47"/>
                                        </p:tgtEl>
                                        <p:attrNameLst>
                                          <p:attrName>style.visibility</p:attrName>
                                        </p:attrNameLst>
                                      </p:cBhvr>
                                      <p:to>
                                        <p:strVal val="visible"/>
                                      </p:to>
                                    </p:set>
                                    <p:animEffect transition="in" filter="fade">
                                      <p:cBhvr>
                                        <p:cTn id="16" dur="250"/>
                                        <p:tgtEl>
                                          <p:spTgt spid="4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250"/>
                                        <p:tgtEl>
                                          <p:spTgt spid="3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6"/>
                                        </p:tgtEl>
                                        <p:attrNameLst>
                                          <p:attrName>style.visibility</p:attrName>
                                        </p:attrNameLst>
                                      </p:cBhvr>
                                      <p:to>
                                        <p:strVal val="visible"/>
                                      </p:to>
                                    </p:set>
                                    <p:animEffect transition="in" filter="fade">
                                      <p:cBhvr>
                                        <p:cTn id="22" dur="250"/>
                                        <p:tgtEl>
                                          <p:spTgt spid="3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250"/>
                                        <p:tgtEl>
                                          <p:spTgt spid="22"/>
                                        </p:tgtEl>
                                      </p:cBhvr>
                                    </p:animEffect>
                                  </p:childTnLst>
                                </p:cTn>
                              </p:par>
                              <p:par>
                                <p:cTn id="28" presetID="10" presetClass="entr" presetSubtype="0" fill="hold" nodeType="withEffect">
                                  <p:stCondLst>
                                    <p:cond delay="0"/>
                                  </p:stCondLst>
                                  <p:childTnLst>
                                    <p:set>
                                      <p:cBhvr>
                                        <p:cTn id="29" dur="1" fill="hold">
                                          <p:stCondLst>
                                            <p:cond delay="0"/>
                                          </p:stCondLst>
                                        </p:cTn>
                                        <p:tgtEl>
                                          <p:spTgt spid="23"/>
                                        </p:tgtEl>
                                        <p:attrNameLst>
                                          <p:attrName>style.visibility</p:attrName>
                                        </p:attrNameLst>
                                      </p:cBhvr>
                                      <p:to>
                                        <p:strVal val="visible"/>
                                      </p:to>
                                    </p:set>
                                    <p:animEffect transition="in" filter="fade">
                                      <p:cBhvr>
                                        <p:cTn id="30" dur="250"/>
                                        <p:tgtEl>
                                          <p:spTgt spid="2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fade">
                                      <p:cBhvr>
                                        <p:cTn id="33" dur="250"/>
                                        <p:tgtEl>
                                          <p:spTgt spid="9"/>
                                        </p:tgtEl>
                                      </p:cBhvr>
                                    </p:animEffect>
                                  </p:childTnLst>
                                </p:cTn>
                              </p:par>
                              <p:par>
                                <p:cTn id="34" presetID="10" presetClass="entr" presetSubtype="0" fill="hold" nodeType="withEffect">
                                  <p:stCondLst>
                                    <p:cond delay="0"/>
                                  </p:stCondLst>
                                  <p:childTnLst>
                                    <p:set>
                                      <p:cBhvr>
                                        <p:cTn id="35" dur="1" fill="hold">
                                          <p:stCondLst>
                                            <p:cond delay="0"/>
                                          </p:stCondLst>
                                        </p:cTn>
                                        <p:tgtEl>
                                          <p:spTgt spid="181"/>
                                        </p:tgtEl>
                                        <p:attrNameLst>
                                          <p:attrName>style.visibility</p:attrName>
                                        </p:attrNameLst>
                                      </p:cBhvr>
                                      <p:to>
                                        <p:strVal val="visible"/>
                                      </p:to>
                                    </p:set>
                                    <p:animEffect transition="in" filter="fade">
                                      <p:cBhvr>
                                        <p:cTn id="36" dur="250"/>
                                        <p:tgtEl>
                                          <p:spTgt spid="181"/>
                                        </p:tgtEl>
                                      </p:cBhvr>
                                    </p:animEffect>
                                  </p:childTnLst>
                                </p:cTn>
                              </p:par>
                              <p:par>
                                <p:cTn id="37" presetID="10" presetClass="entr" presetSubtype="0" fill="hold" nodeType="with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fade">
                                      <p:cBhvr>
                                        <p:cTn id="39" dur="250"/>
                                        <p:tgtEl>
                                          <p:spTgt spid="24"/>
                                        </p:tgtEl>
                                      </p:cBhvr>
                                    </p:animEffect>
                                  </p:childTnLst>
                                </p:cTn>
                              </p:par>
                              <p:par>
                                <p:cTn id="40" presetID="10" presetClass="entr" presetSubtype="0" fill="hold" nodeType="withEffect">
                                  <p:stCondLst>
                                    <p:cond delay="0"/>
                                  </p:stCondLst>
                                  <p:childTnLst>
                                    <p:set>
                                      <p:cBhvr>
                                        <p:cTn id="41" dur="1" fill="hold">
                                          <p:stCondLst>
                                            <p:cond delay="0"/>
                                          </p:stCondLst>
                                        </p:cTn>
                                        <p:tgtEl>
                                          <p:spTgt spid="88"/>
                                        </p:tgtEl>
                                        <p:attrNameLst>
                                          <p:attrName>style.visibility</p:attrName>
                                        </p:attrNameLst>
                                      </p:cBhvr>
                                      <p:to>
                                        <p:strVal val="visible"/>
                                      </p:to>
                                    </p:set>
                                    <p:animEffect transition="in" filter="fade">
                                      <p:cBhvr>
                                        <p:cTn id="42" dur="250"/>
                                        <p:tgtEl>
                                          <p:spTgt spid="8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96"/>
                                        </p:tgtEl>
                                        <p:attrNameLst>
                                          <p:attrName>style.visibility</p:attrName>
                                        </p:attrNameLst>
                                      </p:cBhvr>
                                      <p:to>
                                        <p:strVal val="visible"/>
                                      </p:to>
                                    </p:set>
                                    <p:animEffect transition="in" filter="fade">
                                      <p:cBhvr>
                                        <p:cTn id="45" dur="250"/>
                                        <p:tgtEl>
                                          <p:spTgt spid="96"/>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95"/>
                                        </p:tgtEl>
                                        <p:attrNameLst>
                                          <p:attrName>style.visibility</p:attrName>
                                        </p:attrNameLst>
                                      </p:cBhvr>
                                      <p:to>
                                        <p:strVal val="visible"/>
                                      </p:to>
                                    </p:set>
                                    <p:animEffect transition="in" filter="fade">
                                      <p:cBhvr>
                                        <p:cTn id="48" dur="250"/>
                                        <p:tgtEl>
                                          <p:spTgt spid="95"/>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25"/>
                                        </p:tgtEl>
                                        <p:attrNameLst>
                                          <p:attrName>style.visibility</p:attrName>
                                        </p:attrNameLst>
                                      </p:cBhvr>
                                      <p:to>
                                        <p:strVal val="visible"/>
                                      </p:to>
                                    </p:set>
                                    <p:animEffect transition="in" filter="fade">
                                      <p:cBhvr>
                                        <p:cTn id="53" dur="250"/>
                                        <p:tgtEl>
                                          <p:spTgt spid="25"/>
                                        </p:tgtEl>
                                      </p:cBhvr>
                                    </p:animEffect>
                                  </p:childTnLst>
                                </p:cTn>
                              </p:par>
                              <p:par>
                                <p:cTn id="54" presetID="10" presetClass="entr" presetSubtype="0" fill="hold" nodeType="withEffect">
                                  <p:stCondLst>
                                    <p:cond delay="0"/>
                                  </p:stCondLst>
                                  <p:childTnLst>
                                    <p:set>
                                      <p:cBhvr>
                                        <p:cTn id="55" dur="1" fill="hold">
                                          <p:stCondLst>
                                            <p:cond delay="0"/>
                                          </p:stCondLst>
                                        </p:cTn>
                                        <p:tgtEl>
                                          <p:spTgt spid="27"/>
                                        </p:tgtEl>
                                        <p:attrNameLst>
                                          <p:attrName>style.visibility</p:attrName>
                                        </p:attrNameLst>
                                      </p:cBhvr>
                                      <p:to>
                                        <p:strVal val="visible"/>
                                      </p:to>
                                    </p:set>
                                    <p:animEffect transition="in" filter="fade">
                                      <p:cBhvr>
                                        <p:cTn id="56" dur="250"/>
                                        <p:tgtEl>
                                          <p:spTgt spid="27"/>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8"/>
                                        </p:tgtEl>
                                        <p:attrNameLst>
                                          <p:attrName>style.visibility</p:attrName>
                                        </p:attrNameLst>
                                      </p:cBhvr>
                                      <p:to>
                                        <p:strVal val="visible"/>
                                      </p:to>
                                    </p:set>
                                    <p:animEffect transition="in" filter="fade">
                                      <p:cBhvr>
                                        <p:cTn id="59" dur="250"/>
                                        <p:tgtEl>
                                          <p:spTgt spid="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94"/>
                                        </p:tgtEl>
                                        <p:attrNameLst>
                                          <p:attrName>style.visibility</p:attrName>
                                        </p:attrNameLst>
                                      </p:cBhvr>
                                      <p:to>
                                        <p:strVal val="visible"/>
                                      </p:to>
                                    </p:set>
                                    <p:animEffect transition="in" filter="fade">
                                      <p:cBhvr>
                                        <p:cTn id="62" dur="250"/>
                                        <p:tgtEl>
                                          <p:spTgt spid="94"/>
                                        </p:tgtEl>
                                      </p:cBhvr>
                                    </p:animEffect>
                                  </p:childTnLst>
                                </p:cTn>
                              </p:par>
                              <p:par>
                                <p:cTn id="63" presetID="10" presetClass="entr" presetSubtype="0" fill="hold" nodeType="withEffect">
                                  <p:stCondLst>
                                    <p:cond delay="0"/>
                                  </p:stCondLst>
                                  <p:childTnLst>
                                    <p:set>
                                      <p:cBhvr>
                                        <p:cTn id="64" dur="1" fill="hold">
                                          <p:stCondLst>
                                            <p:cond delay="0"/>
                                          </p:stCondLst>
                                        </p:cTn>
                                        <p:tgtEl>
                                          <p:spTgt spid="26"/>
                                        </p:tgtEl>
                                        <p:attrNameLst>
                                          <p:attrName>style.visibility</p:attrName>
                                        </p:attrNameLst>
                                      </p:cBhvr>
                                      <p:to>
                                        <p:strVal val="visible"/>
                                      </p:to>
                                    </p:set>
                                    <p:animEffect transition="in" filter="fade">
                                      <p:cBhvr>
                                        <p:cTn id="65" dur="250"/>
                                        <p:tgtEl>
                                          <p:spTgt spid="26"/>
                                        </p:tgtEl>
                                      </p:cBhvr>
                                    </p:animEffect>
                                  </p:childTnLst>
                                </p:cTn>
                              </p:par>
                              <p:par>
                                <p:cTn id="66" presetID="10" presetClass="entr" presetSubtype="0" fill="hold" nodeType="withEffect">
                                  <p:stCondLst>
                                    <p:cond delay="0"/>
                                  </p:stCondLst>
                                  <p:childTnLst>
                                    <p:set>
                                      <p:cBhvr>
                                        <p:cTn id="67" dur="1" fill="hold">
                                          <p:stCondLst>
                                            <p:cond delay="0"/>
                                          </p:stCondLst>
                                        </p:cTn>
                                        <p:tgtEl>
                                          <p:spTgt spid="28"/>
                                        </p:tgtEl>
                                        <p:attrNameLst>
                                          <p:attrName>style.visibility</p:attrName>
                                        </p:attrNameLst>
                                      </p:cBhvr>
                                      <p:to>
                                        <p:strVal val="visible"/>
                                      </p:to>
                                    </p:set>
                                    <p:animEffect transition="in" filter="fade">
                                      <p:cBhvr>
                                        <p:cTn id="68" dur="250"/>
                                        <p:tgtEl>
                                          <p:spTgt spid="28"/>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40"/>
                                        </p:tgtEl>
                                        <p:attrNameLst>
                                          <p:attrName>style.visibility</p:attrName>
                                        </p:attrNameLst>
                                      </p:cBhvr>
                                      <p:to>
                                        <p:strVal val="visible"/>
                                      </p:to>
                                    </p:set>
                                    <p:animEffect transition="in" filter="fade">
                                      <p:cBhvr>
                                        <p:cTn id="73" dur="250"/>
                                        <p:tgtEl>
                                          <p:spTgt spid="40"/>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37"/>
                                        </p:tgtEl>
                                        <p:attrNameLst>
                                          <p:attrName>style.visibility</p:attrName>
                                        </p:attrNameLst>
                                      </p:cBhvr>
                                      <p:to>
                                        <p:strVal val="visible"/>
                                      </p:to>
                                    </p:set>
                                    <p:animEffect transition="in" filter="fade">
                                      <p:cBhvr>
                                        <p:cTn id="76" dur="250"/>
                                        <p:tgtEl>
                                          <p:spTgt spid="37"/>
                                        </p:tgtEl>
                                      </p:cBhvr>
                                    </p:animEffect>
                                  </p:childTnLst>
                                </p:cTn>
                              </p:par>
                              <p:par>
                                <p:cTn id="77" presetID="10" presetClass="entr" presetSubtype="0" fill="hold" nodeType="withEffect">
                                  <p:stCondLst>
                                    <p:cond delay="0"/>
                                  </p:stCondLst>
                                  <p:childTnLst>
                                    <p:set>
                                      <p:cBhvr>
                                        <p:cTn id="78" dur="1" fill="hold">
                                          <p:stCondLst>
                                            <p:cond delay="0"/>
                                          </p:stCondLst>
                                        </p:cTn>
                                        <p:tgtEl>
                                          <p:spTgt spid="16"/>
                                        </p:tgtEl>
                                        <p:attrNameLst>
                                          <p:attrName>style.visibility</p:attrName>
                                        </p:attrNameLst>
                                      </p:cBhvr>
                                      <p:to>
                                        <p:strVal val="visible"/>
                                      </p:to>
                                    </p:set>
                                    <p:animEffect transition="in" filter="fade">
                                      <p:cBhvr>
                                        <p:cTn id="79" dur="500"/>
                                        <p:tgtEl>
                                          <p:spTgt spid="16"/>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grpId="0" nodeType="clickEffect">
                                  <p:stCondLst>
                                    <p:cond delay="0"/>
                                  </p:stCondLst>
                                  <p:childTnLst>
                                    <p:set>
                                      <p:cBhvr>
                                        <p:cTn id="83" dur="1" fill="hold">
                                          <p:stCondLst>
                                            <p:cond delay="0"/>
                                          </p:stCondLst>
                                        </p:cTn>
                                        <p:tgtEl>
                                          <p:spTgt spid="51"/>
                                        </p:tgtEl>
                                        <p:attrNameLst>
                                          <p:attrName>style.visibility</p:attrName>
                                        </p:attrNameLst>
                                      </p:cBhvr>
                                      <p:to>
                                        <p:strVal val="visible"/>
                                      </p:to>
                                    </p:set>
                                    <p:animEffect transition="in" filter="fade">
                                      <p:cBhvr>
                                        <p:cTn id="84" dur="250"/>
                                        <p:tgtEl>
                                          <p:spTgt spid="51"/>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78"/>
                                        </p:tgtEl>
                                        <p:attrNameLst>
                                          <p:attrName>style.visibility</p:attrName>
                                        </p:attrNameLst>
                                      </p:cBhvr>
                                      <p:to>
                                        <p:strVal val="visible"/>
                                      </p:to>
                                    </p:set>
                                    <p:animEffect transition="in" filter="fade">
                                      <p:cBhvr>
                                        <p:cTn id="87" dur="250"/>
                                        <p:tgtEl>
                                          <p:spTgt spid="78"/>
                                        </p:tgtEl>
                                      </p:cBhvr>
                                    </p:animEffect>
                                  </p:childTnLst>
                                </p:cTn>
                              </p:par>
                              <p:par>
                                <p:cTn id="88" presetID="10" presetClass="entr" presetSubtype="0" fill="hold" nodeType="withEffect">
                                  <p:stCondLst>
                                    <p:cond delay="0"/>
                                  </p:stCondLst>
                                  <p:childTnLst>
                                    <p:set>
                                      <p:cBhvr>
                                        <p:cTn id="89" dur="1" fill="hold">
                                          <p:stCondLst>
                                            <p:cond delay="0"/>
                                          </p:stCondLst>
                                        </p:cTn>
                                        <p:tgtEl>
                                          <p:spTgt spid="13"/>
                                        </p:tgtEl>
                                        <p:attrNameLst>
                                          <p:attrName>style.visibility</p:attrName>
                                        </p:attrNameLst>
                                      </p:cBhvr>
                                      <p:to>
                                        <p:strVal val="visible"/>
                                      </p:to>
                                    </p:set>
                                    <p:animEffect transition="in" filter="fade">
                                      <p:cBhvr>
                                        <p:cTn id="90" dur="250"/>
                                        <p:tgtEl>
                                          <p:spTgt spid="13"/>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ntr" presetSubtype="0" fill="hold" grpId="0" nodeType="clickEffect">
                                  <p:stCondLst>
                                    <p:cond delay="0"/>
                                  </p:stCondLst>
                                  <p:childTnLst>
                                    <p:set>
                                      <p:cBhvr>
                                        <p:cTn id="94" dur="1" fill="hold">
                                          <p:stCondLst>
                                            <p:cond delay="0"/>
                                          </p:stCondLst>
                                        </p:cTn>
                                        <p:tgtEl>
                                          <p:spTgt spid="39"/>
                                        </p:tgtEl>
                                        <p:attrNameLst>
                                          <p:attrName>style.visibility</p:attrName>
                                        </p:attrNameLst>
                                      </p:cBhvr>
                                      <p:to>
                                        <p:strVal val="visible"/>
                                      </p:to>
                                    </p:set>
                                    <p:animEffect transition="in" filter="fade">
                                      <p:cBhvr>
                                        <p:cTn id="95" dur="250"/>
                                        <p:tgtEl>
                                          <p:spTgt spid="39"/>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83"/>
                                        </p:tgtEl>
                                        <p:attrNameLst>
                                          <p:attrName>style.visibility</p:attrName>
                                        </p:attrNameLst>
                                      </p:cBhvr>
                                      <p:to>
                                        <p:strVal val="visible"/>
                                      </p:to>
                                    </p:set>
                                    <p:animEffect transition="in" filter="fade">
                                      <p:cBhvr>
                                        <p:cTn id="98" dur="250"/>
                                        <p:tgtEl>
                                          <p:spTgt spid="83"/>
                                        </p:tgtEl>
                                      </p:cBhvr>
                                    </p:animEffect>
                                  </p:childTnLst>
                                </p:cTn>
                              </p:par>
                              <p:par>
                                <p:cTn id="99" presetID="10" presetClass="entr" presetSubtype="0" fill="hold" nodeType="withEffect">
                                  <p:stCondLst>
                                    <p:cond delay="0"/>
                                  </p:stCondLst>
                                  <p:childTnLst>
                                    <p:set>
                                      <p:cBhvr>
                                        <p:cTn id="100" dur="1" fill="hold">
                                          <p:stCondLst>
                                            <p:cond delay="0"/>
                                          </p:stCondLst>
                                        </p:cTn>
                                        <p:tgtEl>
                                          <p:spTgt spid="5"/>
                                        </p:tgtEl>
                                        <p:attrNameLst>
                                          <p:attrName>style.visibility</p:attrName>
                                        </p:attrNameLst>
                                      </p:cBhvr>
                                      <p:to>
                                        <p:strVal val="visible"/>
                                      </p:to>
                                    </p:set>
                                    <p:animEffect transition="in" filter="fade">
                                      <p:cBhvr>
                                        <p:cTn id="101"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35" grpId="0"/>
      <p:bldP spid="36" grpId="0"/>
      <p:bldP spid="37" grpId="0" animBg="1"/>
      <p:bldP spid="51" grpId="0" animBg="1"/>
      <p:bldP spid="78" grpId="0" animBg="1"/>
      <p:bldP spid="83" grpId="0" animBg="1"/>
      <p:bldP spid="95" grpId="0"/>
      <p:bldP spid="96" grpId="0"/>
      <p:bldP spid="39" grpId="0" animBg="1"/>
      <p:bldP spid="40" grpId="0" animBg="1"/>
      <p:bldP spid="9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y use IoT Hub?</a:t>
            </a:r>
          </a:p>
        </p:txBody>
      </p:sp>
      <p:sp>
        <p:nvSpPr>
          <p:cNvPr id="7" name="Rectangle 6"/>
          <p:cNvSpPr/>
          <p:nvPr/>
        </p:nvSpPr>
        <p:spPr bwMode="auto">
          <a:xfrm>
            <a:off x="741478" y="3899990"/>
            <a:ext cx="11051584" cy="492443"/>
          </a:xfrm>
          <a:prstGeom prst="rect">
            <a:avLst/>
          </a:prstGeom>
          <a:solidFill>
            <a:schemeClr val="accent3">
              <a:alpha val="45000"/>
            </a:schemeClr>
          </a:solidFill>
        </p:spPr>
        <p:txBody>
          <a:bodyPr wrap="square" lIns="91440" tIns="91440" rIns="0" bIns="9144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Device authentication &amp; security</a:t>
            </a:r>
          </a:p>
        </p:txBody>
      </p:sp>
      <p:sp>
        <p:nvSpPr>
          <p:cNvPr id="8" name="Rectangle 7"/>
          <p:cNvSpPr/>
          <p:nvPr/>
        </p:nvSpPr>
        <p:spPr bwMode="auto">
          <a:xfrm>
            <a:off x="741478" y="4576585"/>
            <a:ext cx="11051584" cy="492443"/>
          </a:xfrm>
          <a:prstGeom prst="rect">
            <a:avLst/>
          </a:prstGeom>
          <a:solidFill>
            <a:schemeClr val="accent3">
              <a:alpha val="45000"/>
            </a:schemeClr>
          </a:solidFill>
        </p:spPr>
        <p:txBody>
          <a:bodyPr wrap="square" lIns="91440" tIns="91440" rIns="0" bIns="9144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Service-facing</a:t>
            </a:r>
            <a:r>
              <a:rPr kumimoji="0" lang="en-US" sz="2000" b="0" i="0" u="none" strike="noStrike" kern="1200" cap="none" spc="0" normalizeH="0" noProof="0" dirty="0">
                <a:ln>
                  <a:noFill/>
                </a:ln>
                <a:solidFill>
                  <a:srgbClr val="FFFFFF"/>
                </a:solidFill>
                <a:effectLst/>
                <a:uLnTx/>
                <a:uFillTx/>
                <a:latin typeface="Segoe UI"/>
                <a:ea typeface="+mn-ea"/>
                <a:cs typeface="+mn-cs"/>
              </a:rPr>
              <a:t> d</a:t>
            </a:r>
            <a:r>
              <a:rPr kumimoji="0" lang="en-US" sz="2000" b="0" i="0" u="none" strike="noStrike" kern="1200" cap="none" spc="0" normalizeH="0" baseline="0" noProof="0" dirty="0">
                <a:ln>
                  <a:noFill/>
                </a:ln>
                <a:solidFill>
                  <a:srgbClr val="FFFFFF"/>
                </a:solidFill>
                <a:effectLst/>
                <a:uLnTx/>
                <a:uFillTx/>
                <a:latin typeface="Segoe UI"/>
                <a:ea typeface="+mn-ea"/>
                <a:cs typeface="+mn-cs"/>
              </a:rPr>
              <a:t>evice connectivity monitoring</a:t>
            </a:r>
          </a:p>
        </p:txBody>
      </p:sp>
      <p:sp>
        <p:nvSpPr>
          <p:cNvPr id="9" name="Rectangle 8"/>
          <p:cNvSpPr/>
          <p:nvPr/>
        </p:nvSpPr>
        <p:spPr bwMode="auto">
          <a:xfrm>
            <a:off x="741478" y="3223395"/>
            <a:ext cx="11051584" cy="492443"/>
          </a:xfrm>
          <a:prstGeom prst="rect">
            <a:avLst/>
          </a:prstGeom>
          <a:solidFill>
            <a:schemeClr val="accent3">
              <a:alpha val="45000"/>
            </a:schemeClr>
          </a:solidFill>
        </p:spPr>
        <p:txBody>
          <a:bodyPr wrap="square" lIns="91440" tIns="91440" rIns="0" bIns="9144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Scale up to millions of simultaneously connected devices</a:t>
            </a:r>
          </a:p>
        </p:txBody>
      </p:sp>
      <p:sp>
        <p:nvSpPr>
          <p:cNvPr id="10" name="Rectangle 9"/>
          <p:cNvSpPr/>
          <p:nvPr/>
        </p:nvSpPr>
        <p:spPr bwMode="auto">
          <a:xfrm>
            <a:off x="741478" y="5253180"/>
            <a:ext cx="11051584" cy="492443"/>
          </a:xfrm>
          <a:prstGeom prst="rect">
            <a:avLst/>
          </a:prstGeom>
          <a:solidFill>
            <a:schemeClr val="accent3">
              <a:alpha val="45000"/>
            </a:schemeClr>
          </a:solidFill>
        </p:spPr>
        <p:txBody>
          <a:bodyPr wrap="square" lIns="91440" tIns="91440" rIns="0" bIns="91440" rtlCol="0">
            <a:spAutoFit/>
          </a:bodyPr>
          <a:lstStyle/>
          <a:p>
            <a:pPr defTabSz="932597" eaLnBrk="1" fontAlgn="auto" hangingPunct="1">
              <a:spcBef>
                <a:spcPts val="0"/>
              </a:spcBef>
              <a:spcAft>
                <a:spcPts val="0"/>
              </a:spcAft>
            </a:pPr>
            <a:r>
              <a:rPr lang="en-US" sz="2000" dirty="0" err="1">
                <a:solidFill>
                  <a:srgbClr val="FFFFFF"/>
                </a:solidFill>
                <a:latin typeface="Segoe UI"/>
                <a:ea typeface="+mn-ea"/>
              </a:rPr>
              <a:t>IoT</a:t>
            </a:r>
            <a:r>
              <a:rPr lang="en-US" sz="2000" dirty="0">
                <a:solidFill>
                  <a:srgbClr val="FFFFFF"/>
                </a:solidFill>
                <a:latin typeface="Segoe UI"/>
                <a:ea typeface="+mn-ea"/>
              </a:rPr>
              <a:t> protocols, device resource optimization</a:t>
            </a:r>
          </a:p>
        </p:txBody>
      </p:sp>
      <p:sp>
        <p:nvSpPr>
          <p:cNvPr id="11" name="Rectangle 10"/>
          <p:cNvSpPr/>
          <p:nvPr/>
        </p:nvSpPr>
        <p:spPr bwMode="auto">
          <a:xfrm>
            <a:off x="741478" y="2043499"/>
            <a:ext cx="3126965" cy="108346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t" anchorCtr="0" forceAA="0" compatLnSpc="1">
            <a:prstTxWarp prst="textNoShape">
              <a:avLst/>
            </a:prstTxWarp>
            <a:noAutofit/>
          </a:bodyPr>
          <a:lstStyle/>
          <a:p>
            <a:pPr defTabSz="913748" eaLnBrk="1" hangingPunct="1">
              <a:lnSpc>
                <a:spcPct val="90000"/>
              </a:lnSpc>
              <a:spcAft>
                <a:spcPts val="0"/>
              </a:spcAft>
            </a:pPr>
            <a:r>
              <a:rPr lang="en-US" dirty="0">
                <a:solidFill>
                  <a:schemeClr val="tx1"/>
                </a:solidFill>
                <a:latin typeface="Segoe UI Semibold" panose="020B0702040204020203" pitchFamily="34" charset="0"/>
                <a:ea typeface="Segoe UI" pitchFamily="34" charset="0"/>
                <a:cs typeface="Segoe UI" pitchFamily="34" charset="0"/>
              </a:rPr>
              <a:t>Device-to-cloud messaging</a:t>
            </a:r>
          </a:p>
        </p:txBody>
      </p:sp>
      <p:sp>
        <p:nvSpPr>
          <p:cNvPr id="12" name="Rectangle 11"/>
          <p:cNvSpPr/>
          <p:nvPr/>
        </p:nvSpPr>
        <p:spPr bwMode="auto">
          <a:xfrm>
            <a:off x="3982731" y="2039356"/>
            <a:ext cx="3149895" cy="108346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t" anchorCtr="0" forceAA="0" compatLnSpc="1">
            <a:prstTxWarp prst="textNoShape">
              <a:avLst/>
            </a:prstTxWarp>
            <a:noAutofit/>
          </a:bodyPr>
          <a:lstStyle/>
          <a:p>
            <a:pPr defTabSz="913748" eaLnBrk="1" hangingPunct="1">
              <a:lnSpc>
                <a:spcPct val="90000"/>
              </a:lnSpc>
              <a:spcAft>
                <a:spcPts val="0"/>
              </a:spcAft>
            </a:pPr>
            <a:r>
              <a:rPr lang="en-US" dirty="0">
                <a:solidFill>
                  <a:schemeClr val="tx1"/>
                </a:solidFill>
                <a:latin typeface="Segoe UI Semibold" panose="020B0702040204020203" pitchFamily="34" charset="0"/>
                <a:ea typeface="Segoe UI" pitchFamily="34" charset="0"/>
                <a:cs typeface="Segoe UI" pitchFamily="34" charset="0"/>
              </a:rPr>
              <a:t>Cloud-to-device messaging</a:t>
            </a:r>
          </a:p>
        </p:txBody>
      </p:sp>
    </p:spTree>
    <p:extLst>
      <p:ext uri="{BB962C8B-B14F-4D97-AF65-F5344CB8AC3E}">
        <p14:creationId xmlns:p14="http://schemas.microsoft.com/office/powerpoint/2010/main" val="39577853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Striped Right Arrow 62"/>
          <p:cNvSpPr/>
          <p:nvPr/>
        </p:nvSpPr>
        <p:spPr bwMode="auto">
          <a:xfrm rot="5400000">
            <a:off x="3768300" y="3249741"/>
            <a:ext cx="1352422"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itle 1"/>
          <p:cNvSpPr>
            <a:spLocks noGrp="1"/>
          </p:cNvSpPr>
          <p:nvPr>
            <p:ph type="title" idx="4294967295"/>
          </p:nvPr>
        </p:nvSpPr>
        <p:spPr>
          <a:xfrm>
            <a:off x="418610" y="296897"/>
            <a:ext cx="11887200" cy="917575"/>
          </a:xfrm>
        </p:spPr>
        <p:txBody>
          <a:bodyPr/>
          <a:lstStyle/>
          <a:p>
            <a:r>
              <a:rPr lang="sv-SE" sz="4800" dirty="0">
                <a:solidFill>
                  <a:schemeClr val="tx2"/>
                </a:solidFill>
              </a:rPr>
              <a:t>Communication Scenarios</a:t>
            </a:r>
            <a:endParaRPr lang="en-IN" sz="4800" dirty="0">
              <a:solidFill>
                <a:schemeClr val="tx2"/>
              </a:solidFill>
            </a:endParaRPr>
          </a:p>
        </p:txBody>
      </p:sp>
      <p:grpSp>
        <p:nvGrpSpPr>
          <p:cNvPr id="3" name="Group 2"/>
          <p:cNvGrpSpPr/>
          <p:nvPr/>
        </p:nvGrpSpPr>
        <p:grpSpPr>
          <a:xfrm>
            <a:off x="199155" y="4968721"/>
            <a:ext cx="3045531" cy="1695613"/>
            <a:chOff x="199155" y="4968721"/>
            <a:chExt cx="3045531" cy="1695613"/>
          </a:xfrm>
        </p:grpSpPr>
        <p:sp>
          <p:nvSpPr>
            <p:cNvPr id="31" name="TextBox 30"/>
            <p:cNvSpPr txBox="1"/>
            <p:nvPr/>
          </p:nvSpPr>
          <p:spPr>
            <a:xfrm>
              <a:off x="997171" y="4968721"/>
              <a:ext cx="1449499" cy="544765"/>
            </a:xfrm>
            <a:prstGeom prst="rect">
              <a:avLst/>
            </a:prstGeom>
            <a:noFill/>
          </p:spPr>
          <p:txBody>
            <a:bodyPr wrap="none" lIns="182880" tIns="146304" rIns="182880" bIns="146304" rtlCol="0">
              <a:spAutoFit/>
            </a:bodyPr>
            <a:lstStyle/>
            <a:p>
              <a:pPr defTabSz="914400">
                <a:lnSpc>
                  <a:spcPct val="90000"/>
                </a:lnSpc>
                <a:spcAft>
                  <a:spcPts val="600"/>
                </a:spcAft>
                <a:defRPr/>
              </a:pPr>
              <a:r>
                <a:rPr lang="en-GB" b="1" kern="0" dirty="0">
                  <a:gradFill>
                    <a:gsLst>
                      <a:gs pos="2917">
                        <a:srgbClr val="FFFFFF"/>
                      </a:gs>
                      <a:gs pos="30000">
                        <a:srgbClr val="FFFFFF"/>
                      </a:gs>
                    </a:gsLst>
                    <a:lin ang="5400000" scaled="0"/>
                  </a:gradFill>
                </a:rPr>
                <a:t>Telemetry</a:t>
              </a:r>
            </a:p>
          </p:txBody>
        </p:sp>
        <p:sp>
          <p:nvSpPr>
            <p:cNvPr id="32" name="TextBox 31"/>
            <p:cNvSpPr txBox="1"/>
            <p:nvPr/>
          </p:nvSpPr>
          <p:spPr>
            <a:xfrm>
              <a:off x="199155" y="5371672"/>
              <a:ext cx="3045531" cy="1292662"/>
            </a:xfrm>
            <a:prstGeom prst="rect">
              <a:avLst/>
            </a:prstGeom>
            <a:noFill/>
          </p:spPr>
          <p:txBody>
            <a:bodyPr wrap="square" lIns="182880" tIns="146304" rIns="182880" bIns="146304" rtlCol="0">
              <a:spAutoFit/>
            </a:bodyPr>
            <a:lstStyle/>
            <a:p>
              <a:pPr defTabSz="914400">
                <a:lnSpc>
                  <a:spcPct val="90000"/>
                </a:lnSpc>
                <a:spcAft>
                  <a:spcPts val="600"/>
                </a:spcAft>
                <a:defRPr/>
              </a:pPr>
              <a:r>
                <a:rPr lang="en-GB" kern="0" dirty="0">
                  <a:gradFill>
                    <a:gsLst>
                      <a:gs pos="2917">
                        <a:srgbClr val="FFFFFF"/>
                      </a:gs>
                      <a:gs pos="30000">
                        <a:srgbClr val="FFFFFF"/>
                      </a:gs>
                    </a:gsLst>
                    <a:lin ang="5400000" scaled="0"/>
                  </a:gradFill>
                </a:rPr>
                <a:t>Information flowing from a device to other systems for conveying status of device and environment </a:t>
              </a:r>
            </a:p>
          </p:txBody>
        </p:sp>
      </p:grpSp>
      <p:grpSp>
        <p:nvGrpSpPr>
          <p:cNvPr id="4" name="Group 3"/>
          <p:cNvGrpSpPr/>
          <p:nvPr/>
        </p:nvGrpSpPr>
        <p:grpSpPr>
          <a:xfrm>
            <a:off x="3172706" y="4968721"/>
            <a:ext cx="3045531" cy="1695613"/>
            <a:chOff x="3172706" y="4968721"/>
            <a:chExt cx="3045531" cy="1695613"/>
          </a:xfrm>
        </p:grpSpPr>
        <p:sp>
          <p:nvSpPr>
            <p:cNvPr id="37" name="TextBox 36"/>
            <p:cNvSpPr txBox="1"/>
            <p:nvPr/>
          </p:nvSpPr>
          <p:spPr>
            <a:xfrm>
              <a:off x="4038272" y="4968721"/>
              <a:ext cx="1314399" cy="544765"/>
            </a:xfrm>
            <a:prstGeom prst="rect">
              <a:avLst/>
            </a:prstGeom>
            <a:noFill/>
          </p:spPr>
          <p:txBody>
            <a:bodyPr wrap="none" lIns="182880" tIns="146304" rIns="182880" bIns="146304" rtlCol="0">
              <a:spAutoFit/>
            </a:bodyPr>
            <a:lstStyle/>
            <a:p>
              <a:pPr defTabSz="914400">
                <a:lnSpc>
                  <a:spcPct val="90000"/>
                </a:lnSpc>
                <a:spcAft>
                  <a:spcPts val="600"/>
                </a:spcAft>
                <a:defRPr/>
              </a:pPr>
              <a:r>
                <a:rPr lang="en-GB" b="1" kern="0" dirty="0">
                  <a:gradFill>
                    <a:gsLst>
                      <a:gs pos="2917">
                        <a:srgbClr val="FFFFFF"/>
                      </a:gs>
                      <a:gs pos="30000">
                        <a:srgbClr val="FFFFFF"/>
                      </a:gs>
                    </a:gsLst>
                    <a:lin ang="5400000" scaled="0"/>
                  </a:gradFill>
                </a:rPr>
                <a:t>Inquiries</a:t>
              </a:r>
            </a:p>
          </p:txBody>
        </p:sp>
        <p:sp>
          <p:nvSpPr>
            <p:cNvPr id="38" name="TextBox 37"/>
            <p:cNvSpPr txBox="1"/>
            <p:nvPr/>
          </p:nvSpPr>
          <p:spPr>
            <a:xfrm>
              <a:off x="3172706" y="5371672"/>
              <a:ext cx="3045531" cy="1292662"/>
            </a:xfrm>
            <a:prstGeom prst="rect">
              <a:avLst/>
            </a:prstGeom>
            <a:noFill/>
          </p:spPr>
          <p:txBody>
            <a:bodyPr wrap="square" lIns="182880" tIns="146304" rIns="182880" bIns="146304" rtlCol="0">
              <a:spAutoFit/>
            </a:bodyPr>
            <a:lstStyle/>
            <a:p>
              <a:pPr defTabSz="914400">
                <a:lnSpc>
                  <a:spcPct val="90000"/>
                </a:lnSpc>
                <a:spcAft>
                  <a:spcPts val="600"/>
                </a:spcAft>
                <a:defRPr/>
              </a:pPr>
              <a:r>
                <a:rPr lang="en-GB" kern="0" dirty="0">
                  <a:gradFill>
                    <a:gsLst>
                      <a:gs pos="2917">
                        <a:srgbClr val="FFFFFF"/>
                      </a:gs>
                      <a:gs pos="30000">
                        <a:srgbClr val="FFFFFF"/>
                      </a:gs>
                    </a:gsLst>
                    <a:lin ang="5400000" scaled="0"/>
                  </a:gradFill>
                </a:rPr>
                <a:t>Requests from devices looking to gather required information or to initiate activities </a:t>
              </a:r>
            </a:p>
          </p:txBody>
        </p:sp>
      </p:grpSp>
      <p:grpSp>
        <p:nvGrpSpPr>
          <p:cNvPr id="5" name="Group 4"/>
          <p:cNvGrpSpPr/>
          <p:nvPr/>
        </p:nvGrpSpPr>
        <p:grpSpPr>
          <a:xfrm>
            <a:off x="6296906" y="4968721"/>
            <a:ext cx="3045531" cy="1695613"/>
            <a:chOff x="6296906" y="4968721"/>
            <a:chExt cx="3045531" cy="1695613"/>
          </a:xfrm>
        </p:grpSpPr>
        <p:sp>
          <p:nvSpPr>
            <p:cNvPr id="44" name="TextBox 43"/>
            <p:cNvSpPr txBox="1"/>
            <p:nvPr/>
          </p:nvSpPr>
          <p:spPr>
            <a:xfrm>
              <a:off x="7027467" y="4968721"/>
              <a:ext cx="1584408" cy="544765"/>
            </a:xfrm>
            <a:prstGeom prst="rect">
              <a:avLst/>
            </a:prstGeom>
            <a:noFill/>
          </p:spPr>
          <p:txBody>
            <a:bodyPr wrap="none" lIns="182880" tIns="146304" rIns="182880" bIns="146304" rtlCol="0">
              <a:spAutoFit/>
            </a:bodyPr>
            <a:lstStyle/>
            <a:p>
              <a:pPr defTabSz="914400">
                <a:lnSpc>
                  <a:spcPct val="90000"/>
                </a:lnSpc>
                <a:spcAft>
                  <a:spcPts val="600"/>
                </a:spcAft>
                <a:defRPr/>
              </a:pPr>
              <a:r>
                <a:rPr lang="en-GB" b="1" kern="0" dirty="0">
                  <a:gradFill>
                    <a:gsLst>
                      <a:gs pos="2917">
                        <a:srgbClr val="FFFFFF"/>
                      </a:gs>
                      <a:gs pos="30000">
                        <a:srgbClr val="FFFFFF"/>
                      </a:gs>
                    </a:gsLst>
                    <a:lin ang="5400000" scaled="0"/>
                  </a:gradFill>
                </a:rPr>
                <a:t>Commands</a:t>
              </a:r>
            </a:p>
          </p:txBody>
        </p:sp>
        <p:sp>
          <p:nvSpPr>
            <p:cNvPr id="45" name="TextBox 44"/>
            <p:cNvSpPr txBox="1"/>
            <p:nvPr/>
          </p:nvSpPr>
          <p:spPr>
            <a:xfrm>
              <a:off x="6296906" y="5371672"/>
              <a:ext cx="3045531" cy="1292662"/>
            </a:xfrm>
            <a:prstGeom prst="rect">
              <a:avLst/>
            </a:prstGeom>
            <a:noFill/>
          </p:spPr>
          <p:txBody>
            <a:bodyPr wrap="square" lIns="182880" tIns="146304" rIns="182880" bIns="146304" rtlCol="0">
              <a:spAutoFit/>
            </a:bodyPr>
            <a:lstStyle/>
            <a:p>
              <a:pPr defTabSz="914400">
                <a:lnSpc>
                  <a:spcPct val="90000"/>
                </a:lnSpc>
                <a:spcAft>
                  <a:spcPts val="600"/>
                </a:spcAft>
                <a:defRPr/>
              </a:pPr>
              <a:r>
                <a:rPr lang="en-GB" kern="0" dirty="0">
                  <a:gradFill>
                    <a:gsLst>
                      <a:gs pos="2917">
                        <a:srgbClr val="FFFFFF"/>
                      </a:gs>
                      <a:gs pos="30000">
                        <a:srgbClr val="FFFFFF"/>
                      </a:gs>
                    </a:gsLst>
                    <a:lin ang="5400000" scaled="0"/>
                  </a:gradFill>
                </a:rPr>
                <a:t>Commands from other systems to a device or a group of devices to perform specific activities</a:t>
              </a:r>
            </a:p>
          </p:txBody>
        </p:sp>
      </p:grpSp>
      <p:grpSp>
        <p:nvGrpSpPr>
          <p:cNvPr id="6" name="Group 5"/>
          <p:cNvGrpSpPr/>
          <p:nvPr/>
        </p:nvGrpSpPr>
        <p:grpSpPr>
          <a:xfrm>
            <a:off x="9268706" y="4968721"/>
            <a:ext cx="3045531" cy="1695613"/>
            <a:chOff x="9268706" y="4968721"/>
            <a:chExt cx="3045531" cy="1695613"/>
          </a:xfrm>
        </p:grpSpPr>
        <p:sp>
          <p:nvSpPr>
            <p:cNvPr id="50" name="TextBox 49"/>
            <p:cNvSpPr txBox="1"/>
            <p:nvPr/>
          </p:nvSpPr>
          <p:spPr>
            <a:xfrm>
              <a:off x="9904690" y="4968721"/>
              <a:ext cx="1773562" cy="544765"/>
            </a:xfrm>
            <a:prstGeom prst="rect">
              <a:avLst/>
            </a:prstGeom>
            <a:noFill/>
          </p:spPr>
          <p:txBody>
            <a:bodyPr wrap="none" lIns="182880" tIns="146304" rIns="182880" bIns="146304" rtlCol="0">
              <a:spAutoFit/>
            </a:bodyPr>
            <a:lstStyle/>
            <a:p>
              <a:pPr defTabSz="914400">
                <a:lnSpc>
                  <a:spcPct val="90000"/>
                </a:lnSpc>
                <a:spcAft>
                  <a:spcPts val="600"/>
                </a:spcAft>
                <a:defRPr/>
              </a:pPr>
              <a:r>
                <a:rPr lang="en-GB" b="1" kern="0" dirty="0">
                  <a:gradFill>
                    <a:gsLst>
                      <a:gs pos="2917">
                        <a:srgbClr val="FFFFFF"/>
                      </a:gs>
                      <a:gs pos="30000">
                        <a:srgbClr val="FFFFFF"/>
                      </a:gs>
                    </a:gsLst>
                    <a:lin ang="5400000" scaled="0"/>
                  </a:gradFill>
                </a:rPr>
                <a:t>Notifications</a:t>
              </a:r>
            </a:p>
          </p:txBody>
        </p:sp>
        <p:sp>
          <p:nvSpPr>
            <p:cNvPr id="51" name="TextBox 50"/>
            <p:cNvSpPr txBox="1"/>
            <p:nvPr/>
          </p:nvSpPr>
          <p:spPr>
            <a:xfrm>
              <a:off x="9268706" y="5371672"/>
              <a:ext cx="3045531" cy="1292662"/>
            </a:xfrm>
            <a:prstGeom prst="rect">
              <a:avLst/>
            </a:prstGeom>
            <a:noFill/>
          </p:spPr>
          <p:txBody>
            <a:bodyPr wrap="square" lIns="182880" tIns="146304" rIns="182880" bIns="146304" rtlCol="0">
              <a:spAutoFit/>
            </a:bodyPr>
            <a:lstStyle/>
            <a:p>
              <a:pPr defTabSz="914400">
                <a:lnSpc>
                  <a:spcPct val="90000"/>
                </a:lnSpc>
                <a:spcAft>
                  <a:spcPts val="600"/>
                </a:spcAft>
                <a:defRPr/>
              </a:pPr>
              <a:r>
                <a:rPr lang="en-GB" kern="0" dirty="0">
                  <a:gradFill>
                    <a:gsLst>
                      <a:gs pos="2917">
                        <a:srgbClr val="FFFFFF"/>
                      </a:gs>
                      <a:gs pos="30000">
                        <a:srgbClr val="FFFFFF"/>
                      </a:gs>
                    </a:gsLst>
                    <a:lin ang="5400000" scaled="0"/>
                  </a:gradFill>
                </a:rPr>
                <a:t>Information flowing from other systems to a device (group) for conveying status changes</a:t>
              </a:r>
            </a:p>
          </p:txBody>
        </p:sp>
      </p:grpSp>
      <p:sp>
        <p:nvSpPr>
          <p:cNvPr id="54" name="Frame 5"/>
          <p:cNvSpPr>
            <a:spLocks noChangeAspect="1"/>
          </p:cNvSpPr>
          <p:nvPr/>
        </p:nvSpPr>
        <p:spPr bwMode="auto">
          <a:xfrm>
            <a:off x="1352574" y="1975428"/>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55" name="Frame 5"/>
          <p:cNvSpPr>
            <a:spLocks noChangeAspect="1"/>
          </p:cNvSpPr>
          <p:nvPr/>
        </p:nvSpPr>
        <p:spPr bwMode="auto">
          <a:xfrm>
            <a:off x="7450325" y="1975428"/>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56" name="Frame 5"/>
          <p:cNvSpPr>
            <a:spLocks noChangeAspect="1"/>
          </p:cNvSpPr>
          <p:nvPr/>
        </p:nvSpPr>
        <p:spPr bwMode="auto">
          <a:xfrm>
            <a:off x="4326125" y="1975428"/>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57" name="Frame 5"/>
          <p:cNvSpPr>
            <a:spLocks noChangeAspect="1"/>
          </p:cNvSpPr>
          <p:nvPr/>
        </p:nvSpPr>
        <p:spPr bwMode="auto">
          <a:xfrm>
            <a:off x="10422125" y="1975428"/>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pic>
        <p:nvPicPr>
          <p:cNvPr id="58" name="Picture 57"/>
          <p:cNvPicPr>
            <a:picLocks noChangeAspect="1"/>
          </p:cNvPicPr>
          <p:nvPr/>
        </p:nvPicPr>
        <p:blipFill>
          <a:blip r:embed="rId3" cstate="screen">
            <a:biLevel thresh="25000"/>
            <a:extLst>
              <a:ext uri="{28A0092B-C50C-407E-A947-70E740481C1C}">
                <a14:useLocalDpi xmlns:a14="http://schemas.microsoft.com/office/drawing/2010/main"/>
              </a:ext>
            </a:extLst>
          </a:blip>
          <a:stretch>
            <a:fillRect/>
          </a:stretch>
        </p:blipFill>
        <p:spPr>
          <a:xfrm rot="10800000">
            <a:off x="1312878" y="4245762"/>
            <a:ext cx="818085" cy="818085"/>
          </a:xfrm>
          <a:prstGeom prst="rect">
            <a:avLst/>
          </a:prstGeom>
        </p:spPr>
      </p:pic>
      <p:pic>
        <p:nvPicPr>
          <p:cNvPr id="59" name="Picture 58"/>
          <p:cNvPicPr>
            <a:picLocks noChangeAspect="1"/>
          </p:cNvPicPr>
          <p:nvPr/>
        </p:nvPicPr>
        <p:blipFill>
          <a:blip r:embed="rId3" cstate="screen">
            <a:biLevel thresh="25000"/>
            <a:extLst>
              <a:ext uri="{28A0092B-C50C-407E-A947-70E740481C1C}">
                <a14:useLocalDpi xmlns:a14="http://schemas.microsoft.com/office/drawing/2010/main"/>
              </a:ext>
            </a:extLst>
          </a:blip>
          <a:stretch>
            <a:fillRect/>
          </a:stretch>
        </p:blipFill>
        <p:spPr>
          <a:xfrm rot="10800000">
            <a:off x="4286429" y="4245762"/>
            <a:ext cx="818085" cy="818085"/>
          </a:xfrm>
          <a:prstGeom prst="rect">
            <a:avLst/>
          </a:prstGeom>
        </p:spPr>
      </p:pic>
      <p:pic>
        <p:nvPicPr>
          <p:cNvPr id="60" name="Picture 59"/>
          <p:cNvPicPr>
            <a:picLocks noChangeAspect="1"/>
          </p:cNvPicPr>
          <p:nvPr/>
        </p:nvPicPr>
        <p:blipFill>
          <a:blip r:embed="rId3" cstate="screen">
            <a:biLevel thresh="25000"/>
            <a:extLst>
              <a:ext uri="{28A0092B-C50C-407E-A947-70E740481C1C}">
                <a14:useLocalDpi xmlns:a14="http://schemas.microsoft.com/office/drawing/2010/main"/>
              </a:ext>
            </a:extLst>
          </a:blip>
          <a:stretch>
            <a:fillRect/>
          </a:stretch>
        </p:blipFill>
        <p:spPr>
          <a:xfrm rot="10800000">
            <a:off x="7410629" y="4245762"/>
            <a:ext cx="818085" cy="818085"/>
          </a:xfrm>
          <a:prstGeom prst="rect">
            <a:avLst/>
          </a:prstGeom>
        </p:spPr>
      </p:pic>
      <p:pic>
        <p:nvPicPr>
          <p:cNvPr id="61" name="Picture 60"/>
          <p:cNvPicPr>
            <a:picLocks noChangeAspect="1"/>
          </p:cNvPicPr>
          <p:nvPr/>
        </p:nvPicPr>
        <p:blipFill>
          <a:blip r:embed="rId3" cstate="screen">
            <a:biLevel thresh="25000"/>
            <a:extLst>
              <a:ext uri="{28A0092B-C50C-407E-A947-70E740481C1C}">
                <a14:useLocalDpi xmlns:a14="http://schemas.microsoft.com/office/drawing/2010/main"/>
              </a:ext>
            </a:extLst>
          </a:blip>
          <a:stretch>
            <a:fillRect/>
          </a:stretch>
        </p:blipFill>
        <p:spPr>
          <a:xfrm rot="10800000">
            <a:off x="10382429" y="4245762"/>
            <a:ext cx="818085" cy="818085"/>
          </a:xfrm>
          <a:prstGeom prst="rect">
            <a:avLst/>
          </a:prstGeom>
        </p:spPr>
      </p:pic>
      <p:sp>
        <p:nvSpPr>
          <p:cNvPr id="9" name="Striped Right Arrow 8"/>
          <p:cNvSpPr/>
          <p:nvPr/>
        </p:nvSpPr>
        <p:spPr bwMode="auto">
          <a:xfrm rot="5400000">
            <a:off x="1045709" y="3249741"/>
            <a:ext cx="1352422"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62" name="Striped Right Arrow 61"/>
          <p:cNvSpPr/>
          <p:nvPr/>
        </p:nvSpPr>
        <p:spPr bwMode="auto">
          <a:xfrm rot="16200000">
            <a:off x="4579091" y="3614607"/>
            <a:ext cx="622689" cy="475864"/>
          </a:xfrm>
          <a:prstGeom prst="stripedRightArrow">
            <a:avLst>
              <a:gd name="adj1" fmla="val 66677"/>
              <a:gd name="adj2" fmla="val 50000"/>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64" name="Striped Right Arrow 63"/>
          <p:cNvSpPr/>
          <p:nvPr/>
        </p:nvSpPr>
        <p:spPr bwMode="auto">
          <a:xfrm rot="16200000">
            <a:off x="10115260" y="3228748"/>
            <a:ext cx="1352422"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66" name="Striped Right Arrow 65"/>
          <p:cNvSpPr/>
          <p:nvPr/>
        </p:nvSpPr>
        <p:spPr bwMode="auto">
          <a:xfrm rot="5400000">
            <a:off x="7237250" y="2947985"/>
            <a:ext cx="622689" cy="475864"/>
          </a:xfrm>
          <a:prstGeom prst="stripedRightArrow">
            <a:avLst>
              <a:gd name="adj1" fmla="val 66677"/>
              <a:gd name="adj2" fmla="val 50000"/>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65" name="Striped Right Arrow 64"/>
          <p:cNvSpPr/>
          <p:nvPr/>
        </p:nvSpPr>
        <p:spPr bwMode="auto">
          <a:xfrm rot="16200000">
            <a:off x="7268142" y="3280504"/>
            <a:ext cx="1352422"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36855349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childTnLst>
                          </p:cTn>
                        </p:par>
                        <p:par>
                          <p:cTn id="8" fill="hold">
                            <p:stCondLst>
                              <p:cond delay="500"/>
                            </p:stCondLst>
                            <p:childTnLst>
                              <p:par>
                                <p:cTn id="9" presetID="1" presetClass="entr" presetSubtype="0" fill="hold" nodeType="afterEffect">
                                  <p:stCondLst>
                                    <p:cond delay="0"/>
                                  </p:stCondLst>
                                  <p:childTnLst>
                                    <p:set>
                                      <p:cBhvr>
                                        <p:cTn id="10" dur="1" fill="hold">
                                          <p:stCondLst>
                                            <p:cond delay="0"/>
                                          </p:stCondLst>
                                        </p:cTn>
                                        <p:tgtEl>
                                          <p:spTgt spid="58"/>
                                        </p:tgtEl>
                                        <p:attrNameLst>
                                          <p:attrName>style.visibility</p:attrName>
                                        </p:attrNameLst>
                                      </p:cBhvr>
                                      <p:to>
                                        <p:strVal val="visible"/>
                                      </p:to>
                                    </p:se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1" fill="hold" grpId="0" nodeType="clickEffect">
                                  <p:stCondLst>
                                    <p:cond delay="0"/>
                                  </p:stCondLst>
                                  <p:childTnLst>
                                    <p:set>
                                      <p:cBhvr>
                                        <p:cTn id="18" dur="1" fill="hold">
                                          <p:stCondLst>
                                            <p:cond delay="0"/>
                                          </p:stCondLst>
                                        </p:cTn>
                                        <p:tgtEl>
                                          <p:spTgt spid="63"/>
                                        </p:tgtEl>
                                        <p:attrNameLst>
                                          <p:attrName>style.visibility</p:attrName>
                                        </p:attrNameLst>
                                      </p:cBhvr>
                                      <p:to>
                                        <p:strVal val="visible"/>
                                      </p:to>
                                    </p:set>
                                    <p:animEffect transition="in" filter="wipe(up)">
                                      <p:cBhvr>
                                        <p:cTn id="19" dur="500"/>
                                        <p:tgtEl>
                                          <p:spTgt spid="63"/>
                                        </p:tgtEl>
                                      </p:cBhvr>
                                    </p:animEffect>
                                  </p:childTnLst>
                                </p:cTn>
                              </p:par>
                            </p:childTnLst>
                          </p:cTn>
                        </p:par>
                        <p:par>
                          <p:cTn id="20" fill="hold">
                            <p:stCondLst>
                              <p:cond delay="500"/>
                            </p:stCondLst>
                            <p:childTnLst>
                              <p:par>
                                <p:cTn id="21" presetID="1" presetClass="entr" presetSubtype="0" fill="hold" nodeType="afterEffect">
                                  <p:stCondLst>
                                    <p:cond delay="0"/>
                                  </p:stCondLst>
                                  <p:childTnLst>
                                    <p:set>
                                      <p:cBhvr>
                                        <p:cTn id="22" dur="1" fill="hold">
                                          <p:stCondLst>
                                            <p:cond delay="0"/>
                                          </p:stCondLst>
                                        </p:cTn>
                                        <p:tgtEl>
                                          <p:spTgt spid="59"/>
                                        </p:tgtEl>
                                        <p:attrNameLst>
                                          <p:attrName>style.visibility</p:attrName>
                                        </p:attrNameLst>
                                      </p:cBhvr>
                                      <p:to>
                                        <p:strVal val="visible"/>
                                      </p:to>
                                    </p:set>
                                  </p:childTnLst>
                                </p:cTn>
                              </p:par>
                            </p:childTnLst>
                          </p:cTn>
                        </p:par>
                        <p:par>
                          <p:cTn id="23" fill="hold">
                            <p:stCondLst>
                              <p:cond delay="500"/>
                            </p:stCondLst>
                            <p:childTnLst>
                              <p:par>
                                <p:cTn id="24" presetID="22" presetClass="entr" presetSubtype="4" fill="hold" grpId="0" nodeType="afterEffect">
                                  <p:stCondLst>
                                    <p:cond delay="0"/>
                                  </p:stCondLst>
                                  <p:childTnLst>
                                    <p:set>
                                      <p:cBhvr>
                                        <p:cTn id="25" dur="1" fill="hold">
                                          <p:stCondLst>
                                            <p:cond delay="0"/>
                                          </p:stCondLst>
                                        </p:cTn>
                                        <p:tgtEl>
                                          <p:spTgt spid="62"/>
                                        </p:tgtEl>
                                        <p:attrNameLst>
                                          <p:attrName>style.visibility</p:attrName>
                                        </p:attrNameLst>
                                      </p:cBhvr>
                                      <p:to>
                                        <p:strVal val="visible"/>
                                      </p:to>
                                    </p:set>
                                    <p:animEffect transition="in" filter="wipe(down)">
                                      <p:cBhvr>
                                        <p:cTn id="26" dur="500"/>
                                        <p:tgtEl>
                                          <p:spTgt spid="62"/>
                                        </p:tgtEl>
                                      </p:cBhvr>
                                    </p:animEffect>
                                  </p:childTnLst>
                                </p:cTn>
                              </p:par>
                            </p:childTnLst>
                          </p:cTn>
                        </p:par>
                        <p:par>
                          <p:cTn id="27" fill="hold">
                            <p:stCondLst>
                              <p:cond delay="1000"/>
                            </p:stCondLst>
                            <p:childTnLst>
                              <p:par>
                                <p:cTn id="28" presetID="10" presetClass="entr" presetSubtype="0" fill="hold" nodeType="after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fade">
                                      <p:cBhvr>
                                        <p:cTn id="30" dur="500"/>
                                        <p:tgtEl>
                                          <p:spTgt spid="4"/>
                                        </p:tgtEl>
                                      </p:cBhvr>
                                    </p:animEffec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60"/>
                                        </p:tgtEl>
                                        <p:attrNameLst>
                                          <p:attrName>style.visibility</p:attrName>
                                        </p:attrNameLst>
                                      </p:cBhvr>
                                      <p:to>
                                        <p:strVal val="visible"/>
                                      </p:to>
                                    </p:set>
                                  </p:childTnLst>
                                </p:cTn>
                              </p:par>
                            </p:childTnLst>
                          </p:cTn>
                        </p:par>
                        <p:par>
                          <p:cTn id="35" fill="hold">
                            <p:stCondLst>
                              <p:cond delay="0"/>
                            </p:stCondLst>
                            <p:childTnLst>
                              <p:par>
                                <p:cTn id="36" presetID="22" presetClass="entr" presetSubtype="4" fill="hold" grpId="0" nodeType="afterEffect">
                                  <p:stCondLst>
                                    <p:cond delay="0"/>
                                  </p:stCondLst>
                                  <p:childTnLst>
                                    <p:set>
                                      <p:cBhvr>
                                        <p:cTn id="37" dur="1" fill="hold">
                                          <p:stCondLst>
                                            <p:cond delay="0"/>
                                          </p:stCondLst>
                                        </p:cTn>
                                        <p:tgtEl>
                                          <p:spTgt spid="65"/>
                                        </p:tgtEl>
                                        <p:attrNameLst>
                                          <p:attrName>style.visibility</p:attrName>
                                        </p:attrNameLst>
                                      </p:cBhvr>
                                      <p:to>
                                        <p:strVal val="visible"/>
                                      </p:to>
                                    </p:set>
                                    <p:animEffect transition="in" filter="wipe(down)">
                                      <p:cBhvr>
                                        <p:cTn id="38" dur="500"/>
                                        <p:tgtEl>
                                          <p:spTgt spid="65"/>
                                        </p:tgtEl>
                                      </p:cBhvr>
                                    </p:animEffect>
                                  </p:childTnLst>
                                </p:cTn>
                              </p:par>
                            </p:childTnLst>
                          </p:cTn>
                        </p:par>
                        <p:par>
                          <p:cTn id="39" fill="hold">
                            <p:stCondLst>
                              <p:cond delay="500"/>
                            </p:stCondLst>
                            <p:childTnLst>
                              <p:par>
                                <p:cTn id="40" presetID="22" presetClass="entr" presetSubtype="1" fill="hold" grpId="0" nodeType="after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wipe(up)">
                                      <p:cBhvr>
                                        <p:cTn id="42" dur="500"/>
                                        <p:tgtEl>
                                          <p:spTgt spid="66"/>
                                        </p:tgtEl>
                                      </p:cBhvr>
                                    </p:animEffect>
                                  </p:childTnLst>
                                </p:cTn>
                              </p:par>
                            </p:childTnLst>
                          </p:cTn>
                        </p:par>
                        <p:par>
                          <p:cTn id="43" fill="hold">
                            <p:stCondLst>
                              <p:cond delay="1000"/>
                            </p:stCondLst>
                            <p:childTnLst>
                              <p:par>
                                <p:cTn id="44" presetID="10" presetClass="entr" presetSubtype="0" fill="hold" nodeType="afterEffect">
                                  <p:stCondLst>
                                    <p:cond delay="0"/>
                                  </p:stCondLst>
                                  <p:childTnLst>
                                    <p:set>
                                      <p:cBhvr>
                                        <p:cTn id="45" dur="1" fill="hold">
                                          <p:stCondLst>
                                            <p:cond delay="0"/>
                                          </p:stCondLst>
                                        </p:cTn>
                                        <p:tgtEl>
                                          <p:spTgt spid="5"/>
                                        </p:tgtEl>
                                        <p:attrNameLst>
                                          <p:attrName>style.visibility</p:attrName>
                                        </p:attrNameLst>
                                      </p:cBhvr>
                                      <p:to>
                                        <p:strVal val="visible"/>
                                      </p:to>
                                    </p:set>
                                    <p:animEffect transition="in" filter="fade">
                                      <p:cBhvr>
                                        <p:cTn id="46" dur="500"/>
                                        <p:tgtEl>
                                          <p:spTgt spid="5"/>
                                        </p:tgtEl>
                                      </p:cBhvr>
                                    </p:animEffec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61"/>
                                        </p:tgtEl>
                                        <p:attrNameLst>
                                          <p:attrName>style.visibility</p:attrName>
                                        </p:attrNameLst>
                                      </p:cBhvr>
                                      <p:to>
                                        <p:strVal val="visible"/>
                                      </p:to>
                                    </p:set>
                                  </p:childTnLst>
                                </p:cTn>
                              </p:par>
                            </p:childTnLst>
                          </p:cTn>
                        </p:par>
                        <p:par>
                          <p:cTn id="51" fill="hold">
                            <p:stCondLst>
                              <p:cond delay="0"/>
                            </p:stCondLst>
                            <p:childTnLst>
                              <p:par>
                                <p:cTn id="52" presetID="22" presetClass="entr" presetSubtype="4" fill="hold" grpId="0" nodeType="afterEffect">
                                  <p:stCondLst>
                                    <p:cond delay="0"/>
                                  </p:stCondLst>
                                  <p:childTnLst>
                                    <p:set>
                                      <p:cBhvr>
                                        <p:cTn id="53" dur="1" fill="hold">
                                          <p:stCondLst>
                                            <p:cond delay="0"/>
                                          </p:stCondLst>
                                        </p:cTn>
                                        <p:tgtEl>
                                          <p:spTgt spid="64"/>
                                        </p:tgtEl>
                                        <p:attrNameLst>
                                          <p:attrName>style.visibility</p:attrName>
                                        </p:attrNameLst>
                                      </p:cBhvr>
                                      <p:to>
                                        <p:strVal val="visible"/>
                                      </p:to>
                                    </p:set>
                                    <p:animEffect transition="in" filter="wipe(down)">
                                      <p:cBhvr>
                                        <p:cTn id="54" dur="500"/>
                                        <p:tgtEl>
                                          <p:spTgt spid="64"/>
                                        </p:tgtEl>
                                      </p:cBhvr>
                                    </p:animEffect>
                                  </p:childTnLst>
                                </p:cTn>
                              </p:par>
                            </p:childTnLst>
                          </p:cTn>
                        </p:par>
                        <p:par>
                          <p:cTn id="55" fill="hold">
                            <p:stCondLst>
                              <p:cond delay="500"/>
                            </p:stCondLst>
                            <p:childTnLst>
                              <p:par>
                                <p:cTn id="56" presetID="10" presetClass="entr" presetSubtype="0" fill="hold" nodeType="afterEffect">
                                  <p:stCondLst>
                                    <p:cond delay="0"/>
                                  </p:stCondLst>
                                  <p:childTnLst>
                                    <p:set>
                                      <p:cBhvr>
                                        <p:cTn id="57" dur="1" fill="hold">
                                          <p:stCondLst>
                                            <p:cond delay="0"/>
                                          </p:stCondLst>
                                        </p:cTn>
                                        <p:tgtEl>
                                          <p:spTgt spid="6"/>
                                        </p:tgtEl>
                                        <p:attrNameLst>
                                          <p:attrName>style.visibility</p:attrName>
                                        </p:attrNameLst>
                                      </p:cBhvr>
                                      <p:to>
                                        <p:strVal val="visible"/>
                                      </p:to>
                                    </p:set>
                                    <p:animEffect transition="in" filter="fade">
                                      <p:cBhvr>
                                        <p:cTn id="58"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9" grpId="0" animBg="1"/>
      <p:bldP spid="62" grpId="0" animBg="1"/>
      <p:bldP spid="64" grpId="0" animBg="1"/>
      <p:bldP spid="66" grpId="0" animBg="1"/>
      <p:bldP spid="65"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18610" y="296897"/>
            <a:ext cx="11887200" cy="917575"/>
          </a:xfrm>
        </p:spPr>
        <p:txBody>
          <a:bodyPr/>
          <a:lstStyle/>
          <a:p>
            <a:r>
              <a:rPr lang="sv-SE" sz="4800" dirty="0">
                <a:solidFill>
                  <a:schemeClr val="tx2"/>
                </a:solidFill>
              </a:rPr>
              <a:t>Inside the IoT </a:t>
            </a:r>
            <a:r>
              <a:rPr lang="sv-SE" sz="4800" dirty="0" err="1">
                <a:solidFill>
                  <a:schemeClr val="tx2"/>
                </a:solidFill>
              </a:rPr>
              <a:t>Hub</a:t>
            </a:r>
            <a:endParaRPr lang="en-IN" sz="4800" dirty="0">
              <a:solidFill>
                <a:schemeClr val="tx2"/>
              </a:solidFill>
            </a:endParaRPr>
          </a:p>
        </p:txBody>
      </p:sp>
      <p:pic>
        <p:nvPicPr>
          <p:cNvPr id="8" name="Picture 7">
            <a:extLst>
              <a:ext uri="{FF2B5EF4-FFF2-40B4-BE49-F238E27FC236}">
                <a16:creationId xmlns:a16="http://schemas.microsoft.com/office/drawing/2014/main" id="{6B81447F-33DE-4F0E-8EAF-2751DD1E779B}"/>
              </a:ext>
            </a:extLst>
          </p:cNvPr>
          <p:cNvPicPr>
            <a:picLocks noChangeAspect="1"/>
          </p:cNvPicPr>
          <p:nvPr/>
        </p:nvPicPr>
        <p:blipFill>
          <a:blip r:embed="rId3"/>
          <a:stretch>
            <a:fillRect/>
          </a:stretch>
        </p:blipFill>
        <p:spPr>
          <a:xfrm>
            <a:off x="6489089" y="2610844"/>
            <a:ext cx="952500" cy="952500"/>
          </a:xfrm>
          <a:prstGeom prst="rect">
            <a:avLst/>
          </a:prstGeom>
        </p:spPr>
      </p:pic>
      <p:pic>
        <p:nvPicPr>
          <p:cNvPr id="11" name="Picture 10">
            <a:extLst>
              <a:ext uri="{FF2B5EF4-FFF2-40B4-BE49-F238E27FC236}">
                <a16:creationId xmlns:a16="http://schemas.microsoft.com/office/drawing/2014/main" id="{60665E7D-E40B-4085-AE1F-22FF2FF74248}"/>
              </a:ext>
            </a:extLst>
          </p:cNvPr>
          <p:cNvPicPr>
            <a:picLocks noChangeAspect="1"/>
          </p:cNvPicPr>
          <p:nvPr/>
        </p:nvPicPr>
        <p:blipFill>
          <a:blip r:embed="rId4"/>
          <a:stretch>
            <a:fillRect/>
          </a:stretch>
        </p:blipFill>
        <p:spPr>
          <a:xfrm>
            <a:off x="6437580" y="5239274"/>
            <a:ext cx="952500" cy="952500"/>
          </a:xfrm>
          <a:prstGeom prst="rect">
            <a:avLst/>
          </a:prstGeom>
        </p:spPr>
      </p:pic>
      <p:sp>
        <p:nvSpPr>
          <p:cNvPr id="101" name="Striped Right Arrow 8">
            <a:extLst>
              <a:ext uri="{FF2B5EF4-FFF2-40B4-BE49-F238E27FC236}">
                <a16:creationId xmlns:a16="http://schemas.microsoft.com/office/drawing/2014/main" id="{02665DFD-B3C8-4B6F-97DB-15132EC885E3}"/>
              </a:ext>
            </a:extLst>
          </p:cNvPr>
          <p:cNvSpPr/>
          <p:nvPr/>
        </p:nvSpPr>
        <p:spPr bwMode="auto">
          <a:xfrm>
            <a:off x="5285259" y="5454929"/>
            <a:ext cx="843283"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cxnSp>
        <p:nvCxnSpPr>
          <p:cNvPr id="109" name="Straight Connector 108">
            <a:extLst>
              <a:ext uri="{FF2B5EF4-FFF2-40B4-BE49-F238E27FC236}">
                <a16:creationId xmlns:a16="http://schemas.microsoft.com/office/drawing/2014/main" id="{F63C1C66-6E6F-4CFB-A84D-BD7B4F8BAC16}"/>
              </a:ext>
            </a:extLst>
          </p:cNvPr>
          <p:cNvCxnSpPr>
            <a:cxnSpLocks/>
          </p:cNvCxnSpPr>
          <p:nvPr/>
        </p:nvCxnSpPr>
        <p:spPr>
          <a:xfrm>
            <a:off x="418610" y="4228774"/>
            <a:ext cx="4624739" cy="2657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a16="http://schemas.microsoft.com/office/drawing/2014/main" id="{434861D7-8983-4ECD-BE45-078C20AD03A2}"/>
              </a:ext>
            </a:extLst>
          </p:cNvPr>
          <p:cNvGrpSpPr/>
          <p:nvPr/>
        </p:nvGrpSpPr>
        <p:grpSpPr>
          <a:xfrm>
            <a:off x="311484" y="1516893"/>
            <a:ext cx="4731865" cy="2364265"/>
            <a:chOff x="311484" y="1516893"/>
            <a:chExt cx="4731865" cy="2364265"/>
          </a:xfrm>
        </p:grpSpPr>
        <p:sp>
          <p:nvSpPr>
            <p:cNvPr id="22" name="Arrow: Right 21">
              <a:extLst>
                <a:ext uri="{FF2B5EF4-FFF2-40B4-BE49-F238E27FC236}">
                  <a16:creationId xmlns:a16="http://schemas.microsoft.com/office/drawing/2014/main" id="{0B37324B-37FA-4655-82CF-88E30C9084CF}"/>
                </a:ext>
              </a:extLst>
            </p:cNvPr>
            <p:cNvSpPr/>
            <p:nvPr/>
          </p:nvSpPr>
          <p:spPr bwMode="auto">
            <a:xfrm>
              <a:off x="2286360" y="2144757"/>
              <a:ext cx="886346" cy="605566"/>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2000" dirty="0">
                <a:gradFill>
                  <a:gsLst>
                    <a:gs pos="5417">
                      <a:schemeClr val="accent6"/>
                    </a:gs>
                    <a:gs pos="100000">
                      <a:schemeClr val="accent6"/>
                    </a:gs>
                  </a:gsLst>
                  <a:lin ang="5400000" scaled="0"/>
                </a:gradFill>
              </a:endParaRPr>
            </a:p>
          </p:txBody>
        </p:sp>
        <p:pic>
          <p:nvPicPr>
            <p:cNvPr id="26" name="Picture 25">
              <a:extLst>
                <a:ext uri="{FF2B5EF4-FFF2-40B4-BE49-F238E27FC236}">
                  <a16:creationId xmlns:a16="http://schemas.microsoft.com/office/drawing/2014/main" id="{AC121544-87C5-4761-BB5D-A0B8F8B2A518}"/>
                </a:ext>
              </a:extLst>
            </p:cNvPr>
            <p:cNvPicPr>
              <a:picLocks noChangeAspect="1"/>
            </p:cNvPicPr>
            <p:nvPr/>
          </p:nvPicPr>
          <p:blipFill>
            <a:blip r:embed="rId5"/>
            <a:stretch>
              <a:fillRect/>
            </a:stretch>
          </p:blipFill>
          <p:spPr>
            <a:xfrm>
              <a:off x="931269" y="2273298"/>
              <a:ext cx="780290" cy="780290"/>
            </a:xfrm>
            <a:prstGeom prst="rect">
              <a:avLst/>
            </a:prstGeom>
          </p:spPr>
        </p:pic>
        <p:pic>
          <p:nvPicPr>
            <p:cNvPr id="28" name="Picture 27">
              <a:extLst>
                <a:ext uri="{FF2B5EF4-FFF2-40B4-BE49-F238E27FC236}">
                  <a16:creationId xmlns:a16="http://schemas.microsoft.com/office/drawing/2014/main" id="{FB030334-456C-42F0-A61C-DEE20D2AF3FD}"/>
                </a:ext>
              </a:extLst>
            </p:cNvPr>
            <p:cNvPicPr>
              <a:picLocks noChangeAspect="1"/>
            </p:cNvPicPr>
            <p:nvPr/>
          </p:nvPicPr>
          <p:blipFill>
            <a:blip r:embed="rId6"/>
            <a:stretch>
              <a:fillRect/>
            </a:stretch>
          </p:blipFill>
          <p:spPr>
            <a:xfrm>
              <a:off x="2420356" y="2351293"/>
              <a:ext cx="780290" cy="780290"/>
            </a:xfrm>
            <a:prstGeom prst="rect">
              <a:avLst/>
            </a:prstGeom>
          </p:spPr>
        </p:pic>
        <p:pic>
          <p:nvPicPr>
            <p:cNvPr id="30" name="Picture 29">
              <a:extLst>
                <a:ext uri="{FF2B5EF4-FFF2-40B4-BE49-F238E27FC236}">
                  <a16:creationId xmlns:a16="http://schemas.microsoft.com/office/drawing/2014/main" id="{98E32CA5-2E49-4134-96BE-78AA76BA81F6}"/>
                </a:ext>
              </a:extLst>
            </p:cNvPr>
            <p:cNvPicPr>
              <a:picLocks noChangeAspect="1"/>
            </p:cNvPicPr>
            <p:nvPr/>
          </p:nvPicPr>
          <p:blipFill>
            <a:blip r:embed="rId7"/>
            <a:stretch>
              <a:fillRect/>
            </a:stretch>
          </p:blipFill>
          <p:spPr>
            <a:xfrm>
              <a:off x="3909443" y="2382787"/>
              <a:ext cx="780290" cy="780290"/>
            </a:xfrm>
            <a:prstGeom prst="rect">
              <a:avLst/>
            </a:prstGeom>
          </p:spPr>
        </p:pic>
        <p:sp>
          <p:nvSpPr>
            <p:cNvPr id="102" name="TextBox 101">
              <a:extLst>
                <a:ext uri="{FF2B5EF4-FFF2-40B4-BE49-F238E27FC236}">
                  <a16:creationId xmlns:a16="http://schemas.microsoft.com/office/drawing/2014/main" id="{02EF22C5-F71D-450E-B5F5-5D41FC6732A6}"/>
                </a:ext>
              </a:extLst>
            </p:cNvPr>
            <p:cNvSpPr txBox="1"/>
            <p:nvPr/>
          </p:nvSpPr>
          <p:spPr>
            <a:xfrm>
              <a:off x="3609998" y="3087094"/>
              <a:ext cx="1433351" cy="794064"/>
            </a:xfrm>
            <a:prstGeom prst="rect">
              <a:avLst/>
            </a:prstGeom>
            <a:noFill/>
          </p:spPr>
          <p:txBody>
            <a:bodyPr wrap="square" lIns="182880" tIns="146304" rIns="182880" bIns="146304" rtlCol="0">
              <a:spAutoFit/>
            </a:bodyPr>
            <a:lstStyle/>
            <a:p>
              <a:pPr algn="ctr">
                <a:lnSpc>
                  <a:spcPct val="90000"/>
                </a:lnSpc>
                <a:spcAft>
                  <a:spcPts val="600"/>
                </a:spcAft>
              </a:pPr>
              <a:r>
                <a:rPr lang="en-US" dirty="0">
                  <a:gradFill>
                    <a:gsLst>
                      <a:gs pos="2917">
                        <a:schemeClr val="tx1"/>
                      </a:gs>
                      <a:gs pos="30000">
                        <a:schemeClr val="tx1"/>
                      </a:gs>
                    </a:gsLst>
                    <a:lin ang="5400000" scaled="0"/>
                  </a:gradFill>
                </a:rPr>
                <a:t>Stream Analytics</a:t>
              </a:r>
            </a:p>
          </p:txBody>
        </p:sp>
        <p:sp>
          <p:nvSpPr>
            <p:cNvPr id="103" name="TextBox 102">
              <a:extLst>
                <a:ext uri="{FF2B5EF4-FFF2-40B4-BE49-F238E27FC236}">
                  <a16:creationId xmlns:a16="http://schemas.microsoft.com/office/drawing/2014/main" id="{1AF8E72A-668F-4B52-80FD-08AEF6BA0C55}"/>
                </a:ext>
              </a:extLst>
            </p:cNvPr>
            <p:cNvSpPr txBox="1"/>
            <p:nvPr/>
          </p:nvSpPr>
          <p:spPr>
            <a:xfrm>
              <a:off x="2079856" y="3097880"/>
              <a:ext cx="1433351" cy="544765"/>
            </a:xfrm>
            <a:prstGeom prst="rect">
              <a:avLst/>
            </a:prstGeom>
            <a:noFill/>
          </p:spPr>
          <p:txBody>
            <a:bodyPr wrap="square" lIns="182880" tIns="146304" rIns="182880" bIns="146304" rtlCol="0">
              <a:spAutoFit/>
            </a:bodyPr>
            <a:lstStyle/>
            <a:p>
              <a:pPr algn="ctr">
                <a:lnSpc>
                  <a:spcPct val="90000"/>
                </a:lnSpc>
                <a:spcAft>
                  <a:spcPts val="600"/>
                </a:spcAft>
              </a:pPr>
              <a:r>
                <a:rPr lang="en-US" dirty="0">
                  <a:gradFill>
                    <a:gsLst>
                      <a:gs pos="2917">
                        <a:schemeClr val="tx1"/>
                      </a:gs>
                      <a:gs pos="30000">
                        <a:schemeClr val="tx1"/>
                      </a:gs>
                    </a:gsLst>
                    <a:lin ang="5400000" scaled="0"/>
                  </a:gradFill>
                </a:rPr>
                <a:t>Cosmo DB</a:t>
              </a:r>
            </a:p>
          </p:txBody>
        </p:sp>
        <p:sp>
          <p:nvSpPr>
            <p:cNvPr id="104" name="TextBox 103">
              <a:extLst>
                <a:ext uri="{FF2B5EF4-FFF2-40B4-BE49-F238E27FC236}">
                  <a16:creationId xmlns:a16="http://schemas.microsoft.com/office/drawing/2014/main" id="{962CCAA0-C232-43EE-A72D-B5B818838C8E}"/>
                </a:ext>
              </a:extLst>
            </p:cNvPr>
            <p:cNvSpPr txBox="1"/>
            <p:nvPr/>
          </p:nvSpPr>
          <p:spPr>
            <a:xfrm>
              <a:off x="632535" y="3074621"/>
              <a:ext cx="1433351" cy="794064"/>
            </a:xfrm>
            <a:prstGeom prst="rect">
              <a:avLst/>
            </a:prstGeom>
            <a:noFill/>
          </p:spPr>
          <p:txBody>
            <a:bodyPr wrap="square" lIns="182880" tIns="146304" rIns="182880" bIns="146304" rtlCol="0">
              <a:spAutoFit/>
            </a:bodyPr>
            <a:lstStyle/>
            <a:p>
              <a:pPr algn="ctr">
                <a:lnSpc>
                  <a:spcPct val="90000"/>
                </a:lnSpc>
                <a:spcAft>
                  <a:spcPts val="600"/>
                </a:spcAft>
              </a:pPr>
              <a:r>
                <a:rPr lang="en-US" dirty="0">
                  <a:gradFill>
                    <a:gsLst>
                      <a:gs pos="2917">
                        <a:schemeClr val="tx1"/>
                      </a:gs>
                      <a:gs pos="30000">
                        <a:schemeClr val="tx1"/>
                      </a:gs>
                    </a:gsLst>
                    <a:lin ang="5400000" scaled="0"/>
                  </a:gradFill>
                </a:rPr>
                <a:t>Machine Learning</a:t>
              </a:r>
            </a:p>
          </p:txBody>
        </p:sp>
        <p:sp>
          <p:nvSpPr>
            <p:cNvPr id="110" name="TextBox 109">
              <a:extLst>
                <a:ext uri="{FF2B5EF4-FFF2-40B4-BE49-F238E27FC236}">
                  <a16:creationId xmlns:a16="http://schemas.microsoft.com/office/drawing/2014/main" id="{2AAF9087-772F-497D-82A5-5DB9379CEED0}"/>
                </a:ext>
              </a:extLst>
            </p:cNvPr>
            <p:cNvSpPr txBox="1"/>
            <p:nvPr/>
          </p:nvSpPr>
          <p:spPr>
            <a:xfrm>
              <a:off x="311484" y="1516893"/>
              <a:ext cx="1239570"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Events</a:t>
              </a:r>
            </a:p>
          </p:txBody>
        </p:sp>
      </p:grpSp>
      <p:grpSp>
        <p:nvGrpSpPr>
          <p:cNvPr id="166" name="Group 165">
            <a:extLst>
              <a:ext uri="{FF2B5EF4-FFF2-40B4-BE49-F238E27FC236}">
                <a16:creationId xmlns:a16="http://schemas.microsoft.com/office/drawing/2014/main" id="{CA71DA1D-BA80-4895-BA52-A101A447333F}"/>
              </a:ext>
            </a:extLst>
          </p:cNvPr>
          <p:cNvGrpSpPr/>
          <p:nvPr/>
        </p:nvGrpSpPr>
        <p:grpSpPr>
          <a:xfrm>
            <a:off x="311484" y="4284886"/>
            <a:ext cx="4594935" cy="2504180"/>
            <a:chOff x="311484" y="4284886"/>
            <a:chExt cx="4594935" cy="2504180"/>
          </a:xfrm>
        </p:grpSpPr>
        <p:grpSp>
          <p:nvGrpSpPr>
            <p:cNvPr id="118" name="Group 117">
              <a:extLst>
                <a:ext uri="{FF2B5EF4-FFF2-40B4-BE49-F238E27FC236}">
                  <a16:creationId xmlns:a16="http://schemas.microsoft.com/office/drawing/2014/main" id="{AEACE1C6-D3DF-44F6-8F4D-0C64461FBFCA}"/>
                </a:ext>
              </a:extLst>
            </p:cNvPr>
            <p:cNvGrpSpPr/>
            <p:nvPr/>
          </p:nvGrpSpPr>
          <p:grpSpPr>
            <a:xfrm>
              <a:off x="471559" y="5183149"/>
              <a:ext cx="4434860" cy="1605917"/>
              <a:chOff x="471559" y="5183149"/>
              <a:chExt cx="4434860" cy="1605917"/>
            </a:xfrm>
          </p:grpSpPr>
          <p:pic>
            <p:nvPicPr>
              <p:cNvPr id="13" name="Picture 12">
                <a:extLst>
                  <a:ext uri="{FF2B5EF4-FFF2-40B4-BE49-F238E27FC236}">
                    <a16:creationId xmlns:a16="http://schemas.microsoft.com/office/drawing/2014/main" id="{F17EB0D7-1801-449A-8773-1A8B6D06A1D0}"/>
                  </a:ext>
                </a:extLst>
              </p:cNvPr>
              <p:cNvPicPr>
                <a:picLocks noChangeAspect="1"/>
              </p:cNvPicPr>
              <p:nvPr/>
            </p:nvPicPr>
            <p:blipFill>
              <a:blip r:embed="rId8"/>
              <a:stretch>
                <a:fillRect/>
              </a:stretch>
            </p:blipFill>
            <p:spPr>
              <a:xfrm>
                <a:off x="774755" y="5183149"/>
                <a:ext cx="826960" cy="826960"/>
              </a:xfrm>
              <a:prstGeom prst="rect">
                <a:avLst/>
              </a:prstGeom>
            </p:spPr>
          </p:pic>
          <p:pic>
            <p:nvPicPr>
              <p:cNvPr id="15" name="Picture 14">
                <a:extLst>
                  <a:ext uri="{FF2B5EF4-FFF2-40B4-BE49-F238E27FC236}">
                    <a16:creationId xmlns:a16="http://schemas.microsoft.com/office/drawing/2014/main" id="{21C2C454-391C-42CC-98BF-0DF50678B953}"/>
                  </a:ext>
                </a:extLst>
              </p:cNvPr>
              <p:cNvPicPr>
                <a:picLocks noChangeAspect="1"/>
              </p:cNvPicPr>
              <p:nvPr/>
            </p:nvPicPr>
            <p:blipFill>
              <a:blip r:embed="rId9"/>
              <a:stretch>
                <a:fillRect/>
              </a:stretch>
            </p:blipFill>
            <p:spPr>
              <a:xfrm>
                <a:off x="2330543" y="5243289"/>
                <a:ext cx="687504" cy="687504"/>
              </a:xfrm>
              <a:prstGeom prst="rect">
                <a:avLst/>
              </a:prstGeom>
            </p:spPr>
          </p:pic>
          <p:pic>
            <p:nvPicPr>
              <p:cNvPr id="21" name="Picture 20">
                <a:extLst>
                  <a:ext uri="{FF2B5EF4-FFF2-40B4-BE49-F238E27FC236}">
                    <a16:creationId xmlns:a16="http://schemas.microsoft.com/office/drawing/2014/main" id="{313F44B8-A846-45E4-89A7-2AAFD9E9DFC9}"/>
                  </a:ext>
                </a:extLst>
              </p:cNvPr>
              <p:cNvPicPr>
                <a:picLocks noChangeAspect="1"/>
              </p:cNvPicPr>
              <p:nvPr/>
            </p:nvPicPr>
            <p:blipFill>
              <a:blip r:embed="rId10"/>
              <a:stretch>
                <a:fillRect/>
              </a:stretch>
            </p:blipFill>
            <p:spPr>
              <a:xfrm>
                <a:off x="3868927" y="5276165"/>
                <a:ext cx="695804" cy="695804"/>
              </a:xfrm>
              <a:prstGeom prst="rect">
                <a:avLst/>
              </a:prstGeom>
            </p:spPr>
          </p:pic>
          <p:sp>
            <p:nvSpPr>
              <p:cNvPr id="105" name="TextBox 104">
                <a:extLst>
                  <a:ext uri="{FF2B5EF4-FFF2-40B4-BE49-F238E27FC236}">
                    <a16:creationId xmlns:a16="http://schemas.microsoft.com/office/drawing/2014/main" id="{479E2570-A9E6-459D-858C-83CF9EC1101C}"/>
                  </a:ext>
                </a:extLst>
              </p:cNvPr>
              <p:cNvSpPr txBox="1"/>
              <p:nvPr/>
            </p:nvSpPr>
            <p:spPr>
              <a:xfrm>
                <a:off x="471559" y="5995002"/>
                <a:ext cx="1433351" cy="794064"/>
              </a:xfrm>
              <a:prstGeom prst="rect">
                <a:avLst/>
              </a:prstGeom>
              <a:noFill/>
            </p:spPr>
            <p:txBody>
              <a:bodyPr wrap="square" lIns="182880" tIns="146304" rIns="182880" bIns="146304" rtlCol="0">
                <a:spAutoFit/>
              </a:bodyPr>
              <a:lstStyle/>
              <a:p>
                <a:pPr algn="ctr">
                  <a:lnSpc>
                    <a:spcPct val="90000"/>
                  </a:lnSpc>
                  <a:spcAft>
                    <a:spcPts val="600"/>
                  </a:spcAft>
                </a:pPr>
                <a:r>
                  <a:rPr lang="en-US" dirty="0">
                    <a:gradFill>
                      <a:gsLst>
                        <a:gs pos="2917">
                          <a:schemeClr val="tx1"/>
                        </a:gs>
                        <a:gs pos="30000">
                          <a:schemeClr val="tx1"/>
                        </a:gs>
                      </a:gsLst>
                      <a:lin ang="5400000" scaled="0"/>
                    </a:gradFill>
                  </a:rPr>
                  <a:t>Function App</a:t>
                </a:r>
              </a:p>
            </p:txBody>
          </p:sp>
          <p:sp>
            <p:nvSpPr>
              <p:cNvPr id="106" name="TextBox 105">
                <a:extLst>
                  <a:ext uri="{FF2B5EF4-FFF2-40B4-BE49-F238E27FC236}">
                    <a16:creationId xmlns:a16="http://schemas.microsoft.com/office/drawing/2014/main" id="{0F6EDC7D-4A15-485F-B8FB-69F719AE3431}"/>
                  </a:ext>
                </a:extLst>
              </p:cNvPr>
              <p:cNvSpPr txBox="1"/>
              <p:nvPr/>
            </p:nvSpPr>
            <p:spPr>
              <a:xfrm>
                <a:off x="1905275" y="6014694"/>
                <a:ext cx="1433351" cy="544765"/>
              </a:xfrm>
              <a:prstGeom prst="rect">
                <a:avLst/>
              </a:prstGeom>
              <a:noFill/>
            </p:spPr>
            <p:txBody>
              <a:bodyPr wrap="square" lIns="182880" tIns="146304" rIns="182880" bIns="146304" rtlCol="0">
                <a:spAutoFit/>
              </a:bodyPr>
              <a:lstStyle/>
              <a:p>
                <a:pPr algn="ctr">
                  <a:lnSpc>
                    <a:spcPct val="90000"/>
                  </a:lnSpc>
                  <a:spcAft>
                    <a:spcPts val="600"/>
                  </a:spcAft>
                </a:pPr>
                <a:r>
                  <a:rPr lang="en-US" dirty="0">
                    <a:gradFill>
                      <a:gsLst>
                        <a:gs pos="2917">
                          <a:schemeClr val="tx1"/>
                        </a:gs>
                        <a:gs pos="30000">
                          <a:schemeClr val="tx1"/>
                        </a:gs>
                      </a:gsLst>
                      <a:lin ang="5400000" scaled="0"/>
                    </a:gradFill>
                  </a:rPr>
                  <a:t>Logic App</a:t>
                </a:r>
              </a:p>
            </p:txBody>
          </p:sp>
          <p:sp>
            <p:nvSpPr>
              <p:cNvPr id="107" name="TextBox 106">
                <a:extLst>
                  <a:ext uri="{FF2B5EF4-FFF2-40B4-BE49-F238E27FC236}">
                    <a16:creationId xmlns:a16="http://schemas.microsoft.com/office/drawing/2014/main" id="{BC8CF418-A6E5-4536-8D36-5F23DA10C5FE}"/>
                  </a:ext>
                </a:extLst>
              </p:cNvPr>
              <p:cNvSpPr txBox="1"/>
              <p:nvPr/>
            </p:nvSpPr>
            <p:spPr>
              <a:xfrm>
                <a:off x="3473068" y="6010109"/>
                <a:ext cx="1433351" cy="544765"/>
              </a:xfrm>
              <a:prstGeom prst="rect">
                <a:avLst/>
              </a:prstGeom>
              <a:noFill/>
            </p:spPr>
            <p:txBody>
              <a:bodyPr wrap="square" lIns="182880" tIns="146304" rIns="182880" bIns="146304" rtlCol="0">
                <a:spAutoFit/>
              </a:bodyPr>
              <a:lstStyle/>
              <a:p>
                <a:pPr algn="ctr">
                  <a:lnSpc>
                    <a:spcPct val="90000"/>
                  </a:lnSpc>
                  <a:spcAft>
                    <a:spcPts val="600"/>
                  </a:spcAft>
                </a:pPr>
                <a:r>
                  <a:rPr lang="en-US" dirty="0">
                    <a:gradFill>
                      <a:gsLst>
                        <a:gs pos="2917">
                          <a:schemeClr val="tx1"/>
                        </a:gs>
                        <a:gs pos="30000">
                          <a:schemeClr val="tx1"/>
                        </a:gs>
                      </a:gsLst>
                      <a:lin ang="5400000" scaled="0"/>
                    </a:gradFill>
                  </a:rPr>
                  <a:t>Custom</a:t>
                </a:r>
              </a:p>
            </p:txBody>
          </p:sp>
        </p:grpSp>
        <p:sp>
          <p:nvSpPr>
            <p:cNvPr id="111" name="TextBox 110">
              <a:extLst>
                <a:ext uri="{FF2B5EF4-FFF2-40B4-BE49-F238E27FC236}">
                  <a16:creationId xmlns:a16="http://schemas.microsoft.com/office/drawing/2014/main" id="{26BB19CF-F1E3-4D90-9C32-07422FAEDA2D}"/>
                </a:ext>
              </a:extLst>
            </p:cNvPr>
            <p:cNvSpPr txBox="1"/>
            <p:nvPr/>
          </p:nvSpPr>
          <p:spPr>
            <a:xfrm>
              <a:off x="311484" y="4284886"/>
              <a:ext cx="1834477" cy="627864"/>
            </a:xfrm>
            <a:prstGeom prst="rect">
              <a:avLst/>
            </a:prstGeom>
            <a:noFill/>
          </p:spPr>
          <p:txBody>
            <a:bodyPr wrap="none" lIns="182880" tIns="146304" rIns="182880" bIns="146304" rtlCol="0">
              <a:spAutoFit/>
            </a:bodyPr>
            <a:lstStyle/>
            <a:p>
              <a:pPr>
                <a:lnSpc>
                  <a:spcPct val="90000"/>
                </a:lnSpc>
                <a:spcAft>
                  <a:spcPts val="600"/>
                </a:spcAft>
              </a:pPr>
              <a:r>
                <a:rPr lang="sv-SE" sz="2400" dirty="0" err="1">
                  <a:gradFill>
                    <a:gsLst>
                      <a:gs pos="2917">
                        <a:schemeClr val="tx1"/>
                      </a:gs>
                      <a:gs pos="30000">
                        <a:schemeClr val="tx1"/>
                      </a:gs>
                    </a:gsLst>
                    <a:lin ang="5400000" scaled="0"/>
                  </a:gradFill>
                </a:rPr>
                <a:t>Messaging</a:t>
              </a:r>
              <a:endParaRPr lang="sv-SE" sz="2400" dirty="0">
                <a:gradFill>
                  <a:gsLst>
                    <a:gs pos="2917">
                      <a:schemeClr val="tx1"/>
                    </a:gs>
                    <a:gs pos="30000">
                      <a:schemeClr val="tx1"/>
                    </a:gs>
                  </a:gsLst>
                  <a:lin ang="5400000" scaled="0"/>
                </a:gradFill>
              </a:endParaRPr>
            </a:p>
          </p:txBody>
        </p:sp>
      </p:grpSp>
      <p:sp>
        <p:nvSpPr>
          <p:cNvPr id="113" name="Rectangle: Rounded Corners 112">
            <a:extLst>
              <a:ext uri="{FF2B5EF4-FFF2-40B4-BE49-F238E27FC236}">
                <a16:creationId xmlns:a16="http://schemas.microsoft.com/office/drawing/2014/main" id="{24793451-908E-4F7B-B987-E0401F65600B}"/>
              </a:ext>
            </a:extLst>
          </p:cNvPr>
          <p:cNvSpPr/>
          <p:nvPr/>
        </p:nvSpPr>
        <p:spPr bwMode="auto">
          <a:xfrm>
            <a:off x="5669603" y="1759921"/>
            <a:ext cx="2468853" cy="4937706"/>
          </a:xfrm>
          <a:prstGeom prst="roundRect">
            <a:avLst>
              <a:gd name="adj" fmla="val 1710"/>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sv-SE" sz="2000" dirty="0">
              <a:gradFill>
                <a:gsLst>
                  <a:gs pos="5417">
                    <a:schemeClr val="accent6"/>
                  </a:gs>
                  <a:gs pos="100000">
                    <a:schemeClr val="accent6"/>
                  </a:gs>
                </a:gsLst>
                <a:lin ang="5400000" scaled="0"/>
              </a:gradFill>
            </a:endParaRPr>
          </a:p>
        </p:txBody>
      </p:sp>
      <p:pic>
        <p:nvPicPr>
          <p:cNvPr id="115" name="Picture 114">
            <a:extLst>
              <a:ext uri="{FF2B5EF4-FFF2-40B4-BE49-F238E27FC236}">
                <a16:creationId xmlns:a16="http://schemas.microsoft.com/office/drawing/2014/main" id="{97868F6C-6D95-43E6-89C6-E0FA44B358EB}"/>
              </a:ext>
            </a:extLst>
          </p:cNvPr>
          <p:cNvPicPr>
            <a:picLocks noChangeAspect="1"/>
          </p:cNvPicPr>
          <p:nvPr/>
        </p:nvPicPr>
        <p:blipFill>
          <a:blip r:embed="rId11"/>
          <a:stretch>
            <a:fillRect/>
          </a:stretch>
        </p:blipFill>
        <p:spPr>
          <a:xfrm>
            <a:off x="6523685" y="3718648"/>
            <a:ext cx="780290" cy="780290"/>
          </a:xfrm>
          <a:prstGeom prst="rect">
            <a:avLst/>
          </a:prstGeom>
        </p:spPr>
      </p:pic>
      <p:sp>
        <p:nvSpPr>
          <p:cNvPr id="116" name="TextBox 115">
            <a:extLst>
              <a:ext uri="{FF2B5EF4-FFF2-40B4-BE49-F238E27FC236}">
                <a16:creationId xmlns:a16="http://schemas.microsoft.com/office/drawing/2014/main" id="{AFA75872-4689-4DD0-A263-AD18A3A38CEF}"/>
              </a:ext>
            </a:extLst>
          </p:cNvPr>
          <p:cNvSpPr txBox="1"/>
          <p:nvPr/>
        </p:nvSpPr>
        <p:spPr>
          <a:xfrm>
            <a:off x="5669603" y="1710256"/>
            <a:ext cx="1452962"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IoT </a:t>
            </a:r>
            <a:r>
              <a:rPr lang="sv-SE" sz="2400" dirty="0" err="1">
                <a:gradFill>
                  <a:gsLst>
                    <a:gs pos="2917">
                      <a:schemeClr val="tx1"/>
                    </a:gs>
                    <a:gs pos="30000">
                      <a:schemeClr val="tx1"/>
                    </a:gs>
                  </a:gsLst>
                  <a:lin ang="5400000" scaled="0"/>
                </a:gradFill>
              </a:rPr>
              <a:t>Hub</a:t>
            </a:r>
            <a:endParaRPr lang="sv-SE" sz="2400" dirty="0">
              <a:gradFill>
                <a:gsLst>
                  <a:gs pos="2917">
                    <a:schemeClr val="tx1"/>
                  </a:gs>
                  <a:gs pos="30000">
                    <a:schemeClr val="tx1"/>
                  </a:gs>
                </a:gsLst>
                <a:lin ang="5400000" scaled="0"/>
              </a:gradFill>
            </a:endParaRPr>
          </a:p>
        </p:txBody>
      </p:sp>
      <p:sp>
        <p:nvSpPr>
          <p:cNvPr id="119" name="Striped Right Arrow 8">
            <a:extLst>
              <a:ext uri="{FF2B5EF4-FFF2-40B4-BE49-F238E27FC236}">
                <a16:creationId xmlns:a16="http://schemas.microsoft.com/office/drawing/2014/main" id="{47EAE16E-2B2E-4051-9FE3-37BB7230F3A3}"/>
              </a:ext>
            </a:extLst>
          </p:cNvPr>
          <p:cNvSpPr/>
          <p:nvPr/>
        </p:nvSpPr>
        <p:spPr bwMode="auto">
          <a:xfrm rot="10800000">
            <a:off x="5271257" y="2893651"/>
            <a:ext cx="843283"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grpSp>
        <p:nvGrpSpPr>
          <p:cNvPr id="164" name="Group 163">
            <a:extLst>
              <a:ext uri="{FF2B5EF4-FFF2-40B4-BE49-F238E27FC236}">
                <a16:creationId xmlns:a16="http://schemas.microsoft.com/office/drawing/2014/main" id="{9B5E9F06-D4F0-434F-A285-098557D0357A}"/>
              </a:ext>
            </a:extLst>
          </p:cNvPr>
          <p:cNvGrpSpPr/>
          <p:nvPr/>
        </p:nvGrpSpPr>
        <p:grpSpPr>
          <a:xfrm>
            <a:off x="10211074" y="2217116"/>
            <a:ext cx="1493002" cy="4201261"/>
            <a:chOff x="10211074" y="2217116"/>
            <a:chExt cx="1493002" cy="4201261"/>
          </a:xfrm>
        </p:grpSpPr>
        <p:sp>
          <p:nvSpPr>
            <p:cNvPr id="33" name="Frame 5">
              <a:extLst>
                <a:ext uri="{FF2B5EF4-FFF2-40B4-BE49-F238E27FC236}">
                  <a16:creationId xmlns:a16="http://schemas.microsoft.com/office/drawing/2014/main" id="{6AAE7A2C-6358-40E7-80E9-A1C9E77E5519}"/>
                </a:ext>
              </a:extLst>
            </p:cNvPr>
            <p:cNvSpPr>
              <a:spLocks noChangeAspect="1"/>
            </p:cNvSpPr>
            <p:nvPr/>
          </p:nvSpPr>
          <p:spPr bwMode="auto">
            <a:xfrm>
              <a:off x="10211074"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ame 5">
              <a:extLst>
                <a:ext uri="{FF2B5EF4-FFF2-40B4-BE49-F238E27FC236}">
                  <a16:creationId xmlns:a16="http://schemas.microsoft.com/office/drawing/2014/main" id="{5C849056-4454-4CC7-BDA9-0E8FBA756913}"/>
                </a:ext>
              </a:extLst>
            </p:cNvPr>
            <p:cNvSpPr>
              <a:spLocks noChangeAspect="1"/>
            </p:cNvSpPr>
            <p:nvPr/>
          </p:nvSpPr>
          <p:spPr bwMode="auto">
            <a:xfrm>
              <a:off x="10513330"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ame 5">
              <a:extLst>
                <a:ext uri="{FF2B5EF4-FFF2-40B4-BE49-F238E27FC236}">
                  <a16:creationId xmlns:a16="http://schemas.microsoft.com/office/drawing/2014/main" id="{F034945C-E844-45EE-B43D-EDEEE24F2B8C}"/>
                </a:ext>
              </a:extLst>
            </p:cNvPr>
            <p:cNvSpPr>
              <a:spLocks noChangeAspect="1"/>
            </p:cNvSpPr>
            <p:nvPr/>
          </p:nvSpPr>
          <p:spPr bwMode="auto">
            <a:xfrm>
              <a:off x="10815586"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ame 5">
              <a:extLst>
                <a:ext uri="{FF2B5EF4-FFF2-40B4-BE49-F238E27FC236}">
                  <a16:creationId xmlns:a16="http://schemas.microsoft.com/office/drawing/2014/main" id="{EF2CD93F-41DC-4424-87A7-F36BC69361C2}"/>
                </a:ext>
              </a:extLst>
            </p:cNvPr>
            <p:cNvSpPr>
              <a:spLocks noChangeAspect="1"/>
            </p:cNvSpPr>
            <p:nvPr/>
          </p:nvSpPr>
          <p:spPr bwMode="auto">
            <a:xfrm>
              <a:off x="11117842"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39" name="Frame 5">
              <a:extLst>
                <a:ext uri="{FF2B5EF4-FFF2-40B4-BE49-F238E27FC236}">
                  <a16:creationId xmlns:a16="http://schemas.microsoft.com/office/drawing/2014/main" id="{5E9401BB-E31E-47AC-8E3B-BD35768D447C}"/>
                </a:ext>
              </a:extLst>
            </p:cNvPr>
            <p:cNvSpPr>
              <a:spLocks noChangeAspect="1"/>
            </p:cNvSpPr>
            <p:nvPr/>
          </p:nvSpPr>
          <p:spPr bwMode="auto">
            <a:xfrm>
              <a:off x="11420098"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42" name="Frame 5">
              <a:extLst>
                <a:ext uri="{FF2B5EF4-FFF2-40B4-BE49-F238E27FC236}">
                  <a16:creationId xmlns:a16="http://schemas.microsoft.com/office/drawing/2014/main" id="{2B912413-298F-414F-A211-EF7F299E3F8E}"/>
                </a:ext>
              </a:extLst>
            </p:cNvPr>
            <p:cNvSpPr>
              <a:spLocks noChangeAspect="1"/>
            </p:cNvSpPr>
            <p:nvPr/>
          </p:nvSpPr>
          <p:spPr bwMode="auto">
            <a:xfrm>
              <a:off x="10211074"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43" name="Frame 5">
              <a:extLst>
                <a:ext uri="{FF2B5EF4-FFF2-40B4-BE49-F238E27FC236}">
                  <a16:creationId xmlns:a16="http://schemas.microsoft.com/office/drawing/2014/main" id="{34976A55-D731-48AA-A549-99AC45334BBC}"/>
                </a:ext>
              </a:extLst>
            </p:cNvPr>
            <p:cNvSpPr>
              <a:spLocks noChangeAspect="1"/>
            </p:cNvSpPr>
            <p:nvPr/>
          </p:nvSpPr>
          <p:spPr bwMode="auto">
            <a:xfrm>
              <a:off x="10513330"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46" name="Frame 5">
              <a:extLst>
                <a:ext uri="{FF2B5EF4-FFF2-40B4-BE49-F238E27FC236}">
                  <a16:creationId xmlns:a16="http://schemas.microsoft.com/office/drawing/2014/main" id="{B573AF9F-5597-4D79-9B2B-0FD1EDB0CC51}"/>
                </a:ext>
              </a:extLst>
            </p:cNvPr>
            <p:cNvSpPr>
              <a:spLocks noChangeAspect="1"/>
            </p:cNvSpPr>
            <p:nvPr/>
          </p:nvSpPr>
          <p:spPr bwMode="auto">
            <a:xfrm>
              <a:off x="10815586"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47" name="Frame 5">
              <a:extLst>
                <a:ext uri="{FF2B5EF4-FFF2-40B4-BE49-F238E27FC236}">
                  <a16:creationId xmlns:a16="http://schemas.microsoft.com/office/drawing/2014/main" id="{B26878EC-CDDD-4E11-9D62-E145FF4CE167}"/>
                </a:ext>
              </a:extLst>
            </p:cNvPr>
            <p:cNvSpPr>
              <a:spLocks noChangeAspect="1"/>
            </p:cNvSpPr>
            <p:nvPr/>
          </p:nvSpPr>
          <p:spPr bwMode="auto">
            <a:xfrm>
              <a:off x="11117842"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48" name="Frame 5">
              <a:extLst>
                <a:ext uri="{FF2B5EF4-FFF2-40B4-BE49-F238E27FC236}">
                  <a16:creationId xmlns:a16="http://schemas.microsoft.com/office/drawing/2014/main" id="{1A6CE0E6-7CE0-42D2-85F1-57CD5BA9DCCD}"/>
                </a:ext>
              </a:extLst>
            </p:cNvPr>
            <p:cNvSpPr>
              <a:spLocks noChangeAspect="1"/>
            </p:cNvSpPr>
            <p:nvPr/>
          </p:nvSpPr>
          <p:spPr bwMode="auto">
            <a:xfrm>
              <a:off x="11420098"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53" name="Frame 5">
              <a:extLst>
                <a:ext uri="{FF2B5EF4-FFF2-40B4-BE49-F238E27FC236}">
                  <a16:creationId xmlns:a16="http://schemas.microsoft.com/office/drawing/2014/main" id="{CE454E77-91CB-4020-9833-5204C3854A7C}"/>
                </a:ext>
              </a:extLst>
            </p:cNvPr>
            <p:cNvSpPr>
              <a:spLocks noChangeAspect="1"/>
            </p:cNvSpPr>
            <p:nvPr/>
          </p:nvSpPr>
          <p:spPr bwMode="auto">
            <a:xfrm>
              <a:off x="10211074"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67" name="Frame 5">
              <a:extLst>
                <a:ext uri="{FF2B5EF4-FFF2-40B4-BE49-F238E27FC236}">
                  <a16:creationId xmlns:a16="http://schemas.microsoft.com/office/drawing/2014/main" id="{B16B5240-C5D8-4A6B-B038-8DBD80C59F37}"/>
                </a:ext>
              </a:extLst>
            </p:cNvPr>
            <p:cNvSpPr>
              <a:spLocks noChangeAspect="1"/>
            </p:cNvSpPr>
            <p:nvPr/>
          </p:nvSpPr>
          <p:spPr bwMode="auto">
            <a:xfrm>
              <a:off x="10513330"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68" name="Frame 5">
              <a:extLst>
                <a:ext uri="{FF2B5EF4-FFF2-40B4-BE49-F238E27FC236}">
                  <a16:creationId xmlns:a16="http://schemas.microsoft.com/office/drawing/2014/main" id="{4666DB86-135B-4977-AF56-26384905C98A}"/>
                </a:ext>
              </a:extLst>
            </p:cNvPr>
            <p:cNvSpPr>
              <a:spLocks noChangeAspect="1"/>
            </p:cNvSpPr>
            <p:nvPr/>
          </p:nvSpPr>
          <p:spPr bwMode="auto">
            <a:xfrm>
              <a:off x="10815586"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69" name="Frame 5">
              <a:extLst>
                <a:ext uri="{FF2B5EF4-FFF2-40B4-BE49-F238E27FC236}">
                  <a16:creationId xmlns:a16="http://schemas.microsoft.com/office/drawing/2014/main" id="{17C8D3EE-5D42-48E0-97AB-343907FF0ABA}"/>
                </a:ext>
              </a:extLst>
            </p:cNvPr>
            <p:cNvSpPr>
              <a:spLocks noChangeAspect="1"/>
            </p:cNvSpPr>
            <p:nvPr/>
          </p:nvSpPr>
          <p:spPr bwMode="auto">
            <a:xfrm>
              <a:off x="11117842"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70" name="Frame 5">
              <a:extLst>
                <a:ext uri="{FF2B5EF4-FFF2-40B4-BE49-F238E27FC236}">
                  <a16:creationId xmlns:a16="http://schemas.microsoft.com/office/drawing/2014/main" id="{F1DAB5A2-7AFC-445C-B47D-A7BE26EA7F8C}"/>
                </a:ext>
              </a:extLst>
            </p:cNvPr>
            <p:cNvSpPr>
              <a:spLocks noChangeAspect="1"/>
            </p:cNvSpPr>
            <p:nvPr/>
          </p:nvSpPr>
          <p:spPr bwMode="auto">
            <a:xfrm>
              <a:off x="11420098"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73" name="Frame 5">
              <a:extLst>
                <a:ext uri="{FF2B5EF4-FFF2-40B4-BE49-F238E27FC236}">
                  <a16:creationId xmlns:a16="http://schemas.microsoft.com/office/drawing/2014/main" id="{69D1C89B-A4E0-4212-8E80-702A6945FFB2}"/>
                </a:ext>
              </a:extLst>
            </p:cNvPr>
            <p:cNvSpPr>
              <a:spLocks noChangeAspect="1"/>
            </p:cNvSpPr>
            <p:nvPr/>
          </p:nvSpPr>
          <p:spPr bwMode="auto">
            <a:xfrm>
              <a:off x="10211074"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74" name="Frame 5">
              <a:extLst>
                <a:ext uri="{FF2B5EF4-FFF2-40B4-BE49-F238E27FC236}">
                  <a16:creationId xmlns:a16="http://schemas.microsoft.com/office/drawing/2014/main" id="{B6B9C6A8-1743-4FB2-9A59-A8AF9618A9E9}"/>
                </a:ext>
              </a:extLst>
            </p:cNvPr>
            <p:cNvSpPr>
              <a:spLocks noChangeAspect="1"/>
            </p:cNvSpPr>
            <p:nvPr/>
          </p:nvSpPr>
          <p:spPr bwMode="auto">
            <a:xfrm>
              <a:off x="10513330"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75" name="Frame 5">
              <a:extLst>
                <a:ext uri="{FF2B5EF4-FFF2-40B4-BE49-F238E27FC236}">
                  <a16:creationId xmlns:a16="http://schemas.microsoft.com/office/drawing/2014/main" id="{319475CC-5168-4FC2-9FC1-B5384E596BC4}"/>
                </a:ext>
              </a:extLst>
            </p:cNvPr>
            <p:cNvSpPr>
              <a:spLocks noChangeAspect="1"/>
            </p:cNvSpPr>
            <p:nvPr/>
          </p:nvSpPr>
          <p:spPr bwMode="auto">
            <a:xfrm>
              <a:off x="10815586"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76" name="Frame 5">
              <a:extLst>
                <a:ext uri="{FF2B5EF4-FFF2-40B4-BE49-F238E27FC236}">
                  <a16:creationId xmlns:a16="http://schemas.microsoft.com/office/drawing/2014/main" id="{AB565922-F561-49B5-A281-D9E7C7D0094F}"/>
                </a:ext>
              </a:extLst>
            </p:cNvPr>
            <p:cNvSpPr>
              <a:spLocks noChangeAspect="1"/>
            </p:cNvSpPr>
            <p:nvPr/>
          </p:nvSpPr>
          <p:spPr bwMode="auto">
            <a:xfrm>
              <a:off x="11117842"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77" name="Frame 5">
              <a:extLst>
                <a:ext uri="{FF2B5EF4-FFF2-40B4-BE49-F238E27FC236}">
                  <a16:creationId xmlns:a16="http://schemas.microsoft.com/office/drawing/2014/main" id="{4C2B2821-FD88-42A7-984B-91F1757E0FC1}"/>
                </a:ext>
              </a:extLst>
            </p:cNvPr>
            <p:cNvSpPr>
              <a:spLocks noChangeAspect="1"/>
            </p:cNvSpPr>
            <p:nvPr/>
          </p:nvSpPr>
          <p:spPr bwMode="auto">
            <a:xfrm>
              <a:off x="11420098"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0" name="Frame 5">
              <a:extLst>
                <a:ext uri="{FF2B5EF4-FFF2-40B4-BE49-F238E27FC236}">
                  <a16:creationId xmlns:a16="http://schemas.microsoft.com/office/drawing/2014/main" id="{150AC678-BAA5-42F3-A6B1-3CA64B1FD66C}"/>
                </a:ext>
              </a:extLst>
            </p:cNvPr>
            <p:cNvSpPr>
              <a:spLocks noChangeAspect="1"/>
            </p:cNvSpPr>
            <p:nvPr/>
          </p:nvSpPr>
          <p:spPr bwMode="auto">
            <a:xfrm>
              <a:off x="10211074"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1" name="Frame 5">
              <a:extLst>
                <a:ext uri="{FF2B5EF4-FFF2-40B4-BE49-F238E27FC236}">
                  <a16:creationId xmlns:a16="http://schemas.microsoft.com/office/drawing/2014/main" id="{AB89F195-BF01-47E7-94A8-41F91A8812F7}"/>
                </a:ext>
              </a:extLst>
            </p:cNvPr>
            <p:cNvSpPr>
              <a:spLocks noChangeAspect="1"/>
            </p:cNvSpPr>
            <p:nvPr/>
          </p:nvSpPr>
          <p:spPr bwMode="auto">
            <a:xfrm>
              <a:off x="10513330"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2" name="Frame 5">
              <a:extLst>
                <a:ext uri="{FF2B5EF4-FFF2-40B4-BE49-F238E27FC236}">
                  <a16:creationId xmlns:a16="http://schemas.microsoft.com/office/drawing/2014/main" id="{15C5526C-740A-4A13-A506-47578FAE5E94}"/>
                </a:ext>
              </a:extLst>
            </p:cNvPr>
            <p:cNvSpPr>
              <a:spLocks noChangeAspect="1"/>
            </p:cNvSpPr>
            <p:nvPr/>
          </p:nvSpPr>
          <p:spPr bwMode="auto">
            <a:xfrm>
              <a:off x="10815586"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3" name="Frame 5">
              <a:extLst>
                <a:ext uri="{FF2B5EF4-FFF2-40B4-BE49-F238E27FC236}">
                  <a16:creationId xmlns:a16="http://schemas.microsoft.com/office/drawing/2014/main" id="{1114B207-3C69-4D08-A13C-456C36FB4854}"/>
                </a:ext>
              </a:extLst>
            </p:cNvPr>
            <p:cNvSpPr>
              <a:spLocks noChangeAspect="1"/>
            </p:cNvSpPr>
            <p:nvPr/>
          </p:nvSpPr>
          <p:spPr bwMode="auto">
            <a:xfrm>
              <a:off x="11117842"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4" name="Frame 5">
              <a:extLst>
                <a:ext uri="{FF2B5EF4-FFF2-40B4-BE49-F238E27FC236}">
                  <a16:creationId xmlns:a16="http://schemas.microsoft.com/office/drawing/2014/main" id="{19BBEE82-DDB9-44F0-B1BC-E4D977A41736}"/>
                </a:ext>
              </a:extLst>
            </p:cNvPr>
            <p:cNvSpPr>
              <a:spLocks noChangeAspect="1"/>
            </p:cNvSpPr>
            <p:nvPr/>
          </p:nvSpPr>
          <p:spPr bwMode="auto">
            <a:xfrm>
              <a:off x="11420098"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7" name="Frame 5">
              <a:extLst>
                <a:ext uri="{FF2B5EF4-FFF2-40B4-BE49-F238E27FC236}">
                  <a16:creationId xmlns:a16="http://schemas.microsoft.com/office/drawing/2014/main" id="{9025E1AF-6731-40D9-BFC8-02E1D1D5424C}"/>
                </a:ext>
              </a:extLst>
            </p:cNvPr>
            <p:cNvSpPr>
              <a:spLocks noChangeAspect="1"/>
            </p:cNvSpPr>
            <p:nvPr/>
          </p:nvSpPr>
          <p:spPr bwMode="auto">
            <a:xfrm>
              <a:off x="10211074"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8" name="Frame 5">
              <a:extLst>
                <a:ext uri="{FF2B5EF4-FFF2-40B4-BE49-F238E27FC236}">
                  <a16:creationId xmlns:a16="http://schemas.microsoft.com/office/drawing/2014/main" id="{CE52CEA9-0803-45B5-8371-72BD5DDB0B44}"/>
                </a:ext>
              </a:extLst>
            </p:cNvPr>
            <p:cNvSpPr>
              <a:spLocks noChangeAspect="1"/>
            </p:cNvSpPr>
            <p:nvPr/>
          </p:nvSpPr>
          <p:spPr bwMode="auto">
            <a:xfrm>
              <a:off x="10513330"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89" name="Frame 5">
              <a:extLst>
                <a:ext uri="{FF2B5EF4-FFF2-40B4-BE49-F238E27FC236}">
                  <a16:creationId xmlns:a16="http://schemas.microsoft.com/office/drawing/2014/main" id="{B5846028-A38F-4E14-B3B7-8558C777CEE8}"/>
                </a:ext>
              </a:extLst>
            </p:cNvPr>
            <p:cNvSpPr>
              <a:spLocks noChangeAspect="1"/>
            </p:cNvSpPr>
            <p:nvPr/>
          </p:nvSpPr>
          <p:spPr bwMode="auto">
            <a:xfrm>
              <a:off x="10815586"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0" name="Frame 5">
              <a:extLst>
                <a:ext uri="{FF2B5EF4-FFF2-40B4-BE49-F238E27FC236}">
                  <a16:creationId xmlns:a16="http://schemas.microsoft.com/office/drawing/2014/main" id="{35429E11-B4FA-42CC-9D2D-FF3B55CB2E6A}"/>
                </a:ext>
              </a:extLst>
            </p:cNvPr>
            <p:cNvSpPr>
              <a:spLocks noChangeAspect="1"/>
            </p:cNvSpPr>
            <p:nvPr/>
          </p:nvSpPr>
          <p:spPr bwMode="auto">
            <a:xfrm>
              <a:off x="11117842"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1" name="Frame 5">
              <a:extLst>
                <a:ext uri="{FF2B5EF4-FFF2-40B4-BE49-F238E27FC236}">
                  <a16:creationId xmlns:a16="http://schemas.microsoft.com/office/drawing/2014/main" id="{79A6FAF3-0025-4CA0-AEEB-2140615EEDC4}"/>
                </a:ext>
              </a:extLst>
            </p:cNvPr>
            <p:cNvSpPr>
              <a:spLocks noChangeAspect="1"/>
            </p:cNvSpPr>
            <p:nvPr/>
          </p:nvSpPr>
          <p:spPr bwMode="auto">
            <a:xfrm>
              <a:off x="11420098"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4" name="Frame 5">
              <a:extLst>
                <a:ext uri="{FF2B5EF4-FFF2-40B4-BE49-F238E27FC236}">
                  <a16:creationId xmlns:a16="http://schemas.microsoft.com/office/drawing/2014/main" id="{2E90C2EA-4D11-4F0D-A57F-1CE5277B76F7}"/>
                </a:ext>
              </a:extLst>
            </p:cNvPr>
            <p:cNvSpPr>
              <a:spLocks noChangeAspect="1"/>
            </p:cNvSpPr>
            <p:nvPr/>
          </p:nvSpPr>
          <p:spPr bwMode="auto">
            <a:xfrm>
              <a:off x="10211074"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5" name="Frame 5">
              <a:extLst>
                <a:ext uri="{FF2B5EF4-FFF2-40B4-BE49-F238E27FC236}">
                  <a16:creationId xmlns:a16="http://schemas.microsoft.com/office/drawing/2014/main" id="{B6EA4690-7695-4095-B840-B33B567E9D0D}"/>
                </a:ext>
              </a:extLst>
            </p:cNvPr>
            <p:cNvSpPr>
              <a:spLocks noChangeAspect="1"/>
            </p:cNvSpPr>
            <p:nvPr/>
          </p:nvSpPr>
          <p:spPr bwMode="auto">
            <a:xfrm>
              <a:off x="10513330"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6" name="Frame 5">
              <a:extLst>
                <a:ext uri="{FF2B5EF4-FFF2-40B4-BE49-F238E27FC236}">
                  <a16:creationId xmlns:a16="http://schemas.microsoft.com/office/drawing/2014/main" id="{491CB16F-A6C7-4846-8619-39A7473585FA}"/>
                </a:ext>
              </a:extLst>
            </p:cNvPr>
            <p:cNvSpPr>
              <a:spLocks noChangeAspect="1"/>
            </p:cNvSpPr>
            <p:nvPr/>
          </p:nvSpPr>
          <p:spPr bwMode="auto">
            <a:xfrm>
              <a:off x="10815586"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7" name="Frame 5">
              <a:extLst>
                <a:ext uri="{FF2B5EF4-FFF2-40B4-BE49-F238E27FC236}">
                  <a16:creationId xmlns:a16="http://schemas.microsoft.com/office/drawing/2014/main" id="{C3F7026F-B40E-4901-BAD7-D8F42B2D92D7}"/>
                </a:ext>
              </a:extLst>
            </p:cNvPr>
            <p:cNvSpPr>
              <a:spLocks noChangeAspect="1"/>
            </p:cNvSpPr>
            <p:nvPr/>
          </p:nvSpPr>
          <p:spPr bwMode="auto">
            <a:xfrm>
              <a:off x="11117842"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98" name="Frame 5">
              <a:extLst>
                <a:ext uri="{FF2B5EF4-FFF2-40B4-BE49-F238E27FC236}">
                  <a16:creationId xmlns:a16="http://schemas.microsoft.com/office/drawing/2014/main" id="{6F617DB9-082F-4B92-A013-B9D1453BBB83}"/>
                </a:ext>
              </a:extLst>
            </p:cNvPr>
            <p:cNvSpPr>
              <a:spLocks noChangeAspect="1"/>
            </p:cNvSpPr>
            <p:nvPr/>
          </p:nvSpPr>
          <p:spPr bwMode="auto">
            <a:xfrm>
              <a:off x="11420098"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0" name="Frame 5">
              <a:extLst>
                <a:ext uri="{FF2B5EF4-FFF2-40B4-BE49-F238E27FC236}">
                  <a16:creationId xmlns:a16="http://schemas.microsoft.com/office/drawing/2014/main" id="{0B65E01D-E88B-4A9A-9570-3AF75E890C5E}"/>
                </a:ext>
              </a:extLst>
            </p:cNvPr>
            <p:cNvSpPr>
              <a:spLocks noChangeAspect="1"/>
            </p:cNvSpPr>
            <p:nvPr/>
          </p:nvSpPr>
          <p:spPr bwMode="auto">
            <a:xfrm>
              <a:off x="10220736"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1" name="Frame 5">
              <a:extLst>
                <a:ext uri="{FF2B5EF4-FFF2-40B4-BE49-F238E27FC236}">
                  <a16:creationId xmlns:a16="http://schemas.microsoft.com/office/drawing/2014/main" id="{F8403804-A157-4402-9AA2-623962C2F794}"/>
                </a:ext>
              </a:extLst>
            </p:cNvPr>
            <p:cNvSpPr>
              <a:spLocks noChangeAspect="1"/>
            </p:cNvSpPr>
            <p:nvPr/>
          </p:nvSpPr>
          <p:spPr bwMode="auto">
            <a:xfrm>
              <a:off x="10522992"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2" name="Frame 5">
              <a:extLst>
                <a:ext uri="{FF2B5EF4-FFF2-40B4-BE49-F238E27FC236}">
                  <a16:creationId xmlns:a16="http://schemas.microsoft.com/office/drawing/2014/main" id="{535025D6-0EA5-4552-AE92-0DEF931ACD5A}"/>
                </a:ext>
              </a:extLst>
            </p:cNvPr>
            <p:cNvSpPr>
              <a:spLocks noChangeAspect="1"/>
            </p:cNvSpPr>
            <p:nvPr/>
          </p:nvSpPr>
          <p:spPr bwMode="auto">
            <a:xfrm>
              <a:off x="10825248"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3" name="Frame 5">
              <a:extLst>
                <a:ext uri="{FF2B5EF4-FFF2-40B4-BE49-F238E27FC236}">
                  <a16:creationId xmlns:a16="http://schemas.microsoft.com/office/drawing/2014/main" id="{FE40C43D-30DD-4AFC-9D6A-A7E3159C6200}"/>
                </a:ext>
              </a:extLst>
            </p:cNvPr>
            <p:cNvSpPr>
              <a:spLocks noChangeAspect="1"/>
            </p:cNvSpPr>
            <p:nvPr/>
          </p:nvSpPr>
          <p:spPr bwMode="auto">
            <a:xfrm>
              <a:off x="11127504"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4" name="Frame 5">
              <a:extLst>
                <a:ext uri="{FF2B5EF4-FFF2-40B4-BE49-F238E27FC236}">
                  <a16:creationId xmlns:a16="http://schemas.microsoft.com/office/drawing/2014/main" id="{6E86BAF6-8D28-45B5-A211-CA9711CB34C1}"/>
                </a:ext>
              </a:extLst>
            </p:cNvPr>
            <p:cNvSpPr>
              <a:spLocks noChangeAspect="1"/>
            </p:cNvSpPr>
            <p:nvPr/>
          </p:nvSpPr>
          <p:spPr bwMode="auto">
            <a:xfrm>
              <a:off x="11429760"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5" name="Frame 5">
              <a:extLst>
                <a:ext uri="{FF2B5EF4-FFF2-40B4-BE49-F238E27FC236}">
                  <a16:creationId xmlns:a16="http://schemas.microsoft.com/office/drawing/2014/main" id="{E0558F56-C704-4CE1-8C57-4EE61D29CA57}"/>
                </a:ext>
              </a:extLst>
            </p:cNvPr>
            <p:cNvSpPr>
              <a:spLocks noChangeAspect="1"/>
            </p:cNvSpPr>
            <p:nvPr/>
          </p:nvSpPr>
          <p:spPr bwMode="auto">
            <a:xfrm>
              <a:off x="10220736"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6" name="Frame 5">
              <a:extLst>
                <a:ext uri="{FF2B5EF4-FFF2-40B4-BE49-F238E27FC236}">
                  <a16:creationId xmlns:a16="http://schemas.microsoft.com/office/drawing/2014/main" id="{33AD8291-8CD0-4680-8FE6-55A4A566CB9B}"/>
                </a:ext>
              </a:extLst>
            </p:cNvPr>
            <p:cNvSpPr>
              <a:spLocks noChangeAspect="1"/>
            </p:cNvSpPr>
            <p:nvPr/>
          </p:nvSpPr>
          <p:spPr bwMode="auto">
            <a:xfrm>
              <a:off x="10522992"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7" name="Frame 5">
              <a:extLst>
                <a:ext uri="{FF2B5EF4-FFF2-40B4-BE49-F238E27FC236}">
                  <a16:creationId xmlns:a16="http://schemas.microsoft.com/office/drawing/2014/main" id="{F093E0A1-7C5F-4D64-83AA-AD618A7D3866}"/>
                </a:ext>
              </a:extLst>
            </p:cNvPr>
            <p:cNvSpPr>
              <a:spLocks noChangeAspect="1"/>
            </p:cNvSpPr>
            <p:nvPr/>
          </p:nvSpPr>
          <p:spPr bwMode="auto">
            <a:xfrm>
              <a:off x="10825248"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8" name="Frame 5">
              <a:extLst>
                <a:ext uri="{FF2B5EF4-FFF2-40B4-BE49-F238E27FC236}">
                  <a16:creationId xmlns:a16="http://schemas.microsoft.com/office/drawing/2014/main" id="{DD54CAB4-D7A8-4068-A9DB-245064E5113A}"/>
                </a:ext>
              </a:extLst>
            </p:cNvPr>
            <p:cNvSpPr>
              <a:spLocks noChangeAspect="1"/>
            </p:cNvSpPr>
            <p:nvPr/>
          </p:nvSpPr>
          <p:spPr bwMode="auto">
            <a:xfrm>
              <a:off x="11127504"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29" name="Frame 5">
              <a:extLst>
                <a:ext uri="{FF2B5EF4-FFF2-40B4-BE49-F238E27FC236}">
                  <a16:creationId xmlns:a16="http://schemas.microsoft.com/office/drawing/2014/main" id="{B9A8DBB1-7ECD-4988-B4CB-5DB70F416AB1}"/>
                </a:ext>
              </a:extLst>
            </p:cNvPr>
            <p:cNvSpPr>
              <a:spLocks noChangeAspect="1"/>
            </p:cNvSpPr>
            <p:nvPr/>
          </p:nvSpPr>
          <p:spPr bwMode="auto">
            <a:xfrm>
              <a:off x="11429760"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0" name="Frame 5">
              <a:extLst>
                <a:ext uri="{FF2B5EF4-FFF2-40B4-BE49-F238E27FC236}">
                  <a16:creationId xmlns:a16="http://schemas.microsoft.com/office/drawing/2014/main" id="{7E1BEF43-2EA1-46F3-A329-D59936134CD4}"/>
                </a:ext>
              </a:extLst>
            </p:cNvPr>
            <p:cNvSpPr>
              <a:spLocks noChangeAspect="1"/>
            </p:cNvSpPr>
            <p:nvPr/>
          </p:nvSpPr>
          <p:spPr bwMode="auto">
            <a:xfrm>
              <a:off x="10220736"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1" name="Frame 5">
              <a:extLst>
                <a:ext uri="{FF2B5EF4-FFF2-40B4-BE49-F238E27FC236}">
                  <a16:creationId xmlns:a16="http://schemas.microsoft.com/office/drawing/2014/main" id="{52AD8A62-50F7-4D15-BE2A-877553897593}"/>
                </a:ext>
              </a:extLst>
            </p:cNvPr>
            <p:cNvSpPr>
              <a:spLocks noChangeAspect="1"/>
            </p:cNvSpPr>
            <p:nvPr/>
          </p:nvSpPr>
          <p:spPr bwMode="auto">
            <a:xfrm>
              <a:off x="10522992"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2" name="Frame 5">
              <a:extLst>
                <a:ext uri="{FF2B5EF4-FFF2-40B4-BE49-F238E27FC236}">
                  <a16:creationId xmlns:a16="http://schemas.microsoft.com/office/drawing/2014/main" id="{F5A6025E-E9D7-401F-97CD-64D9CA1DC5DD}"/>
                </a:ext>
              </a:extLst>
            </p:cNvPr>
            <p:cNvSpPr>
              <a:spLocks noChangeAspect="1"/>
            </p:cNvSpPr>
            <p:nvPr/>
          </p:nvSpPr>
          <p:spPr bwMode="auto">
            <a:xfrm>
              <a:off x="10825248"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3" name="Frame 5">
              <a:extLst>
                <a:ext uri="{FF2B5EF4-FFF2-40B4-BE49-F238E27FC236}">
                  <a16:creationId xmlns:a16="http://schemas.microsoft.com/office/drawing/2014/main" id="{6E6860D4-BFF1-4491-BECB-8CC3B81B5EE3}"/>
                </a:ext>
              </a:extLst>
            </p:cNvPr>
            <p:cNvSpPr>
              <a:spLocks noChangeAspect="1"/>
            </p:cNvSpPr>
            <p:nvPr/>
          </p:nvSpPr>
          <p:spPr bwMode="auto">
            <a:xfrm>
              <a:off x="11127504"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4" name="Frame 5">
              <a:extLst>
                <a:ext uri="{FF2B5EF4-FFF2-40B4-BE49-F238E27FC236}">
                  <a16:creationId xmlns:a16="http://schemas.microsoft.com/office/drawing/2014/main" id="{CFAA7C86-9844-45C1-8397-75EE2B198F9B}"/>
                </a:ext>
              </a:extLst>
            </p:cNvPr>
            <p:cNvSpPr>
              <a:spLocks noChangeAspect="1"/>
            </p:cNvSpPr>
            <p:nvPr/>
          </p:nvSpPr>
          <p:spPr bwMode="auto">
            <a:xfrm>
              <a:off x="11429760"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5" name="Frame 5">
              <a:extLst>
                <a:ext uri="{FF2B5EF4-FFF2-40B4-BE49-F238E27FC236}">
                  <a16:creationId xmlns:a16="http://schemas.microsoft.com/office/drawing/2014/main" id="{3C2C50B5-0F93-431F-AE94-A5AD2EE6383E}"/>
                </a:ext>
              </a:extLst>
            </p:cNvPr>
            <p:cNvSpPr>
              <a:spLocks noChangeAspect="1"/>
            </p:cNvSpPr>
            <p:nvPr/>
          </p:nvSpPr>
          <p:spPr bwMode="auto">
            <a:xfrm>
              <a:off x="10220736"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6" name="Frame 5">
              <a:extLst>
                <a:ext uri="{FF2B5EF4-FFF2-40B4-BE49-F238E27FC236}">
                  <a16:creationId xmlns:a16="http://schemas.microsoft.com/office/drawing/2014/main" id="{71417149-B74A-4BD2-A018-9C3E9D4D1AB0}"/>
                </a:ext>
              </a:extLst>
            </p:cNvPr>
            <p:cNvSpPr>
              <a:spLocks noChangeAspect="1"/>
            </p:cNvSpPr>
            <p:nvPr/>
          </p:nvSpPr>
          <p:spPr bwMode="auto">
            <a:xfrm>
              <a:off x="10522992"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7" name="Frame 5">
              <a:extLst>
                <a:ext uri="{FF2B5EF4-FFF2-40B4-BE49-F238E27FC236}">
                  <a16:creationId xmlns:a16="http://schemas.microsoft.com/office/drawing/2014/main" id="{3FDA089B-8202-41CF-91D6-7788701D53C9}"/>
                </a:ext>
              </a:extLst>
            </p:cNvPr>
            <p:cNvSpPr>
              <a:spLocks noChangeAspect="1"/>
            </p:cNvSpPr>
            <p:nvPr/>
          </p:nvSpPr>
          <p:spPr bwMode="auto">
            <a:xfrm>
              <a:off x="10825248"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8" name="Frame 5">
              <a:extLst>
                <a:ext uri="{FF2B5EF4-FFF2-40B4-BE49-F238E27FC236}">
                  <a16:creationId xmlns:a16="http://schemas.microsoft.com/office/drawing/2014/main" id="{4378B8E8-8D11-40E4-B99D-263AC8256087}"/>
                </a:ext>
              </a:extLst>
            </p:cNvPr>
            <p:cNvSpPr>
              <a:spLocks noChangeAspect="1"/>
            </p:cNvSpPr>
            <p:nvPr/>
          </p:nvSpPr>
          <p:spPr bwMode="auto">
            <a:xfrm>
              <a:off x="11127504"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39" name="Frame 5">
              <a:extLst>
                <a:ext uri="{FF2B5EF4-FFF2-40B4-BE49-F238E27FC236}">
                  <a16:creationId xmlns:a16="http://schemas.microsoft.com/office/drawing/2014/main" id="{97702B86-634A-4D65-A016-FA239D3DF1AD}"/>
                </a:ext>
              </a:extLst>
            </p:cNvPr>
            <p:cNvSpPr>
              <a:spLocks noChangeAspect="1"/>
            </p:cNvSpPr>
            <p:nvPr/>
          </p:nvSpPr>
          <p:spPr bwMode="auto">
            <a:xfrm>
              <a:off x="11429760"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0" name="Frame 5">
              <a:extLst>
                <a:ext uri="{FF2B5EF4-FFF2-40B4-BE49-F238E27FC236}">
                  <a16:creationId xmlns:a16="http://schemas.microsoft.com/office/drawing/2014/main" id="{89999CA6-F36E-4571-9DE5-9F6FC7FFBF53}"/>
                </a:ext>
              </a:extLst>
            </p:cNvPr>
            <p:cNvSpPr>
              <a:spLocks noChangeAspect="1"/>
            </p:cNvSpPr>
            <p:nvPr/>
          </p:nvSpPr>
          <p:spPr bwMode="auto">
            <a:xfrm>
              <a:off x="10220736"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1" name="Frame 5">
              <a:extLst>
                <a:ext uri="{FF2B5EF4-FFF2-40B4-BE49-F238E27FC236}">
                  <a16:creationId xmlns:a16="http://schemas.microsoft.com/office/drawing/2014/main" id="{51926374-B36E-473F-B548-5BB959FFFAD5}"/>
                </a:ext>
              </a:extLst>
            </p:cNvPr>
            <p:cNvSpPr>
              <a:spLocks noChangeAspect="1"/>
            </p:cNvSpPr>
            <p:nvPr/>
          </p:nvSpPr>
          <p:spPr bwMode="auto">
            <a:xfrm>
              <a:off x="10522992"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2" name="Frame 5">
              <a:extLst>
                <a:ext uri="{FF2B5EF4-FFF2-40B4-BE49-F238E27FC236}">
                  <a16:creationId xmlns:a16="http://schemas.microsoft.com/office/drawing/2014/main" id="{27069069-5331-4D95-8606-3C2455D5314A}"/>
                </a:ext>
              </a:extLst>
            </p:cNvPr>
            <p:cNvSpPr>
              <a:spLocks noChangeAspect="1"/>
            </p:cNvSpPr>
            <p:nvPr/>
          </p:nvSpPr>
          <p:spPr bwMode="auto">
            <a:xfrm>
              <a:off x="10825248"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3" name="Frame 5">
              <a:extLst>
                <a:ext uri="{FF2B5EF4-FFF2-40B4-BE49-F238E27FC236}">
                  <a16:creationId xmlns:a16="http://schemas.microsoft.com/office/drawing/2014/main" id="{8D5E7B07-F778-4913-96A8-607D88614D92}"/>
                </a:ext>
              </a:extLst>
            </p:cNvPr>
            <p:cNvSpPr>
              <a:spLocks noChangeAspect="1"/>
            </p:cNvSpPr>
            <p:nvPr/>
          </p:nvSpPr>
          <p:spPr bwMode="auto">
            <a:xfrm>
              <a:off x="11127504"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4" name="Frame 5">
              <a:extLst>
                <a:ext uri="{FF2B5EF4-FFF2-40B4-BE49-F238E27FC236}">
                  <a16:creationId xmlns:a16="http://schemas.microsoft.com/office/drawing/2014/main" id="{A53FD703-EBBB-4F6D-BFAF-45EBB3090E16}"/>
                </a:ext>
              </a:extLst>
            </p:cNvPr>
            <p:cNvSpPr>
              <a:spLocks noChangeAspect="1"/>
            </p:cNvSpPr>
            <p:nvPr/>
          </p:nvSpPr>
          <p:spPr bwMode="auto">
            <a:xfrm>
              <a:off x="11429760"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5" name="Frame 5">
              <a:extLst>
                <a:ext uri="{FF2B5EF4-FFF2-40B4-BE49-F238E27FC236}">
                  <a16:creationId xmlns:a16="http://schemas.microsoft.com/office/drawing/2014/main" id="{76BE248D-C6A4-4157-99B8-7B0175335FE2}"/>
                </a:ext>
              </a:extLst>
            </p:cNvPr>
            <p:cNvSpPr>
              <a:spLocks noChangeAspect="1"/>
            </p:cNvSpPr>
            <p:nvPr/>
          </p:nvSpPr>
          <p:spPr bwMode="auto">
            <a:xfrm>
              <a:off x="10220736"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6" name="Frame 5">
              <a:extLst>
                <a:ext uri="{FF2B5EF4-FFF2-40B4-BE49-F238E27FC236}">
                  <a16:creationId xmlns:a16="http://schemas.microsoft.com/office/drawing/2014/main" id="{2A0F37EA-5A0E-418F-BFD7-10EED36C030B}"/>
                </a:ext>
              </a:extLst>
            </p:cNvPr>
            <p:cNvSpPr>
              <a:spLocks noChangeAspect="1"/>
            </p:cNvSpPr>
            <p:nvPr/>
          </p:nvSpPr>
          <p:spPr bwMode="auto">
            <a:xfrm>
              <a:off x="10522992"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7" name="Frame 5">
              <a:extLst>
                <a:ext uri="{FF2B5EF4-FFF2-40B4-BE49-F238E27FC236}">
                  <a16:creationId xmlns:a16="http://schemas.microsoft.com/office/drawing/2014/main" id="{F0EB4AF5-A986-431A-AB57-A38B1A6BA569}"/>
                </a:ext>
              </a:extLst>
            </p:cNvPr>
            <p:cNvSpPr>
              <a:spLocks noChangeAspect="1"/>
            </p:cNvSpPr>
            <p:nvPr/>
          </p:nvSpPr>
          <p:spPr bwMode="auto">
            <a:xfrm>
              <a:off x="10825248"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8" name="Frame 5">
              <a:extLst>
                <a:ext uri="{FF2B5EF4-FFF2-40B4-BE49-F238E27FC236}">
                  <a16:creationId xmlns:a16="http://schemas.microsoft.com/office/drawing/2014/main" id="{DE304C76-5E2F-4845-99EA-F5929344223F}"/>
                </a:ext>
              </a:extLst>
            </p:cNvPr>
            <p:cNvSpPr>
              <a:spLocks noChangeAspect="1"/>
            </p:cNvSpPr>
            <p:nvPr/>
          </p:nvSpPr>
          <p:spPr bwMode="auto">
            <a:xfrm>
              <a:off x="11127504"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49" name="Frame 5">
              <a:extLst>
                <a:ext uri="{FF2B5EF4-FFF2-40B4-BE49-F238E27FC236}">
                  <a16:creationId xmlns:a16="http://schemas.microsoft.com/office/drawing/2014/main" id="{525A9628-4393-4584-966E-3AD93066E51D}"/>
                </a:ext>
              </a:extLst>
            </p:cNvPr>
            <p:cNvSpPr>
              <a:spLocks noChangeAspect="1"/>
            </p:cNvSpPr>
            <p:nvPr/>
          </p:nvSpPr>
          <p:spPr bwMode="auto">
            <a:xfrm>
              <a:off x="11429760"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50" name="Frame 5">
              <a:extLst>
                <a:ext uri="{FF2B5EF4-FFF2-40B4-BE49-F238E27FC236}">
                  <a16:creationId xmlns:a16="http://schemas.microsoft.com/office/drawing/2014/main" id="{F46724B9-AD78-491C-9C4B-AE5BA9A77CD9}"/>
                </a:ext>
              </a:extLst>
            </p:cNvPr>
            <p:cNvSpPr>
              <a:spLocks noChangeAspect="1"/>
            </p:cNvSpPr>
            <p:nvPr/>
          </p:nvSpPr>
          <p:spPr bwMode="auto">
            <a:xfrm>
              <a:off x="10220736"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51" name="Frame 5">
              <a:extLst>
                <a:ext uri="{FF2B5EF4-FFF2-40B4-BE49-F238E27FC236}">
                  <a16:creationId xmlns:a16="http://schemas.microsoft.com/office/drawing/2014/main" id="{C62D2447-B2D0-4778-B196-1948CE9FA881}"/>
                </a:ext>
              </a:extLst>
            </p:cNvPr>
            <p:cNvSpPr>
              <a:spLocks noChangeAspect="1"/>
            </p:cNvSpPr>
            <p:nvPr/>
          </p:nvSpPr>
          <p:spPr bwMode="auto">
            <a:xfrm>
              <a:off x="10522992"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52" name="Frame 5">
              <a:extLst>
                <a:ext uri="{FF2B5EF4-FFF2-40B4-BE49-F238E27FC236}">
                  <a16:creationId xmlns:a16="http://schemas.microsoft.com/office/drawing/2014/main" id="{8F5B5763-EA46-4FDA-9679-B45803A79EA2}"/>
                </a:ext>
              </a:extLst>
            </p:cNvPr>
            <p:cNvSpPr>
              <a:spLocks noChangeAspect="1"/>
            </p:cNvSpPr>
            <p:nvPr/>
          </p:nvSpPr>
          <p:spPr bwMode="auto">
            <a:xfrm>
              <a:off x="10825248"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53" name="Frame 5">
              <a:extLst>
                <a:ext uri="{FF2B5EF4-FFF2-40B4-BE49-F238E27FC236}">
                  <a16:creationId xmlns:a16="http://schemas.microsoft.com/office/drawing/2014/main" id="{66AAD492-4831-464E-80B3-5562FF298176}"/>
                </a:ext>
              </a:extLst>
            </p:cNvPr>
            <p:cNvSpPr>
              <a:spLocks noChangeAspect="1"/>
            </p:cNvSpPr>
            <p:nvPr/>
          </p:nvSpPr>
          <p:spPr bwMode="auto">
            <a:xfrm>
              <a:off x="11127504"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154" name="Frame 5">
              <a:extLst>
                <a:ext uri="{FF2B5EF4-FFF2-40B4-BE49-F238E27FC236}">
                  <a16:creationId xmlns:a16="http://schemas.microsoft.com/office/drawing/2014/main" id="{EE8631A6-7CBE-4A31-9634-36879FC80314}"/>
                </a:ext>
              </a:extLst>
            </p:cNvPr>
            <p:cNvSpPr>
              <a:spLocks noChangeAspect="1"/>
            </p:cNvSpPr>
            <p:nvPr/>
          </p:nvSpPr>
          <p:spPr bwMode="auto">
            <a:xfrm>
              <a:off x="11429760"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grpSp>
      <p:sp>
        <p:nvSpPr>
          <p:cNvPr id="155" name="Left Brace 154">
            <a:extLst>
              <a:ext uri="{FF2B5EF4-FFF2-40B4-BE49-F238E27FC236}">
                <a16:creationId xmlns:a16="http://schemas.microsoft.com/office/drawing/2014/main" id="{D5834322-A40F-48E4-A060-34FEE4B308CF}"/>
              </a:ext>
            </a:extLst>
          </p:cNvPr>
          <p:cNvSpPr/>
          <p:nvPr/>
        </p:nvSpPr>
        <p:spPr>
          <a:xfrm>
            <a:off x="9873832" y="2135965"/>
            <a:ext cx="276282" cy="4410117"/>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cxnSp>
        <p:nvCxnSpPr>
          <p:cNvPr id="157" name="Connector: Elbow 156">
            <a:extLst>
              <a:ext uri="{FF2B5EF4-FFF2-40B4-BE49-F238E27FC236}">
                <a16:creationId xmlns:a16="http://schemas.microsoft.com/office/drawing/2014/main" id="{797F55BF-D02D-4497-BDA4-2378365F5B6B}"/>
              </a:ext>
            </a:extLst>
          </p:cNvPr>
          <p:cNvCxnSpPr>
            <a:cxnSpLocks/>
            <a:stCxn id="155" idx="1"/>
          </p:cNvCxnSpPr>
          <p:nvPr/>
        </p:nvCxnSpPr>
        <p:spPr>
          <a:xfrm rot="10800000">
            <a:off x="7498394" y="3087094"/>
            <a:ext cx="2375439" cy="1253930"/>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1" name="Connector: Elbow 160">
            <a:extLst>
              <a:ext uri="{FF2B5EF4-FFF2-40B4-BE49-F238E27FC236}">
                <a16:creationId xmlns:a16="http://schemas.microsoft.com/office/drawing/2014/main" id="{8767D011-E66A-4D31-8524-D95842C510A9}"/>
              </a:ext>
            </a:extLst>
          </p:cNvPr>
          <p:cNvCxnSpPr>
            <a:cxnSpLocks/>
            <a:stCxn id="11" idx="3"/>
          </p:cNvCxnSpPr>
          <p:nvPr/>
        </p:nvCxnSpPr>
        <p:spPr>
          <a:xfrm flipV="1">
            <a:off x="7390080" y="2948628"/>
            <a:ext cx="2806350" cy="2766896"/>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5" name="TextBox 164">
            <a:extLst>
              <a:ext uri="{FF2B5EF4-FFF2-40B4-BE49-F238E27FC236}">
                <a16:creationId xmlns:a16="http://schemas.microsoft.com/office/drawing/2014/main" id="{AEA6F104-9257-43B4-AAE4-EF3C496B44C2}"/>
              </a:ext>
            </a:extLst>
          </p:cNvPr>
          <p:cNvSpPr txBox="1"/>
          <p:nvPr/>
        </p:nvSpPr>
        <p:spPr>
          <a:xfrm>
            <a:off x="9967136" y="1641672"/>
            <a:ext cx="1401666" cy="627864"/>
          </a:xfrm>
          <a:prstGeom prst="rect">
            <a:avLst/>
          </a:prstGeom>
          <a:noFill/>
        </p:spPr>
        <p:txBody>
          <a:bodyPr wrap="none" lIns="182880" tIns="146304" rIns="182880" bIns="146304" rtlCol="0">
            <a:spAutoFit/>
          </a:bodyPr>
          <a:lstStyle/>
          <a:p>
            <a:pPr>
              <a:lnSpc>
                <a:spcPct val="90000"/>
              </a:lnSpc>
              <a:spcAft>
                <a:spcPts val="600"/>
              </a:spcAft>
            </a:pPr>
            <a:r>
              <a:rPr lang="sv-SE" sz="2400" dirty="0" err="1">
                <a:gradFill>
                  <a:gsLst>
                    <a:gs pos="2917">
                      <a:schemeClr val="tx1"/>
                    </a:gs>
                    <a:gs pos="30000">
                      <a:schemeClr val="tx1"/>
                    </a:gs>
                  </a:gsLst>
                  <a:lin ang="5400000" scaled="0"/>
                </a:gradFill>
              </a:rPr>
              <a:t>Devices</a:t>
            </a:r>
            <a:endParaRPr lang="sv-SE"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9912186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15"/>
                                        </p:tgtEl>
                                      </p:cBhvr>
                                    </p:animEffect>
                                    <p:set>
                                      <p:cBhvr>
                                        <p:cTn id="7" dur="1" fill="hold">
                                          <p:stCondLst>
                                            <p:cond delay="499"/>
                                          </p:stCondLst>
                                        </p:cTn>
                                        <p:tgtEl>
                                          <p:spTgt spid="115"/>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9"/>
                                        </p:tgtEl>
                                        <p:attrNameLst>
                                          <p:attrName>style.visibility</p:attrName>
                                        </p:attrNameLst>
                                      </p:cBhvr>
                                      <p:to>
                                        <p:strVal val="visible"/>
                                      </p:to>
                                    </p:set>
                                    <p:animEffect transition="in" filter="fade">
                                      <p:cBhvr>
                                        <p:cTn id="11" dur="500"/>
                                        <p:tgtEl>
                                          <p:spTgt spid="10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55"/>
                                        </p:tgtEl>
                                        <p:attrNameLst>
                                          <p:attrName>style.visibility</p:attrName>
                                        </p:attrNameLst>
                                      </p:cBhvr>
                                      <p:to>
                                        <p:strVal val="visible"/>
                                      </p:to>
                                    </p:set>
                                    <p:animEffect transition="in" filter="fade">
                                      <p:cBhvr>
                                        <p:cTn id="15" dur="500"/>
                                        <p:tgtEl>
                                          <p:spTgt spid="15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57"/>
                                        </p:tgtEl>
                                        <p:attrNameLst>
                                          <p:attrName>style.visibility</p:attrName>
                                        </p:attrNameLst>
                                      </p:cBhvr>
                                      <p:to>
                                        <p:strVal val="visible"/>
                                      </p:to>
                                    </p:set>
                                    <p:animEffect transition="in" filter="fade">
                                      <p:cBhvr>
                                        <p:cTn id="19" dur="500"/>
                                        <p:tgtEl>
                                          <p:spTgt spid="157"/>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1" fill="hold" grpId="0" nodeType="clickEffect">
                                  <p:stCondLst>
                                    <p:cond delay="0"/>
                                  </p:stCondLst>
                                  <p:childTnLst>
                                    <p:set>
                                      <p:cBhvr>
                                        <p:cTn id="27" dur="1" fill="hold">
                                          <p:stCondLst>
                                            <p:cond delay="0"/>
                                          </p:stCondLst>
                                        </p:cTn>
                                        <p:tgtEl>
                                          <p:spTgt spid="119"/>
                                        </p:tgtEl>
                                        <p:attrNameLst>
                                          <p:attrName>style.visibility</p:attrName>
                                        </p:attrNameLst>
                                      </p:cBhvr>
                                      <p:to>
                                        <p:strVal val="visible"/>
                                      </p:to>
                                    </p:set>
                                    <p:animEffect transition="in" filter="wipe(up)">
                                      <p:cBhvr>
                                        <p:cTn id="28" dur="500"/>
                                        <p:tgtEl>
                                          <p:spTgt spid="119"/>
                                        </p:tgtEl>
                                      </p:cBhvr>
                                    </p:animEffect>
                                  </p:childTnLst>
                                </p:cTn>
                              </p:par>
                            </p:childTnLst>
                          </p:cTn>
                        </p:par>
                        <p:par>
                          <p:cTn id="29" fill="hold">
                            <p:stCondLst>
                              <p:cond delay="500"/>
                            </p:stCondLst>
                            <p:childTnLst>
                              <p:par>
                                <p:cTn id="30" presetID="10" presetClass="entr" presetSubtype="0" fill="hold" nodeType="afterEffect">
                                  <p:stCondLst>
                                    <p:cond delay="0"/>
                                  </p:stCondLst>
                                  <p:childTnLst>
                                    <p:set>
                                      <p:cBhvr>
                                        <p:cTn id="31" dur="1" fill="hold">
                                          <p:stCondLst>
                                            <p:cond delay="0"/>
                                          </p:stCondLst>
                                        </p:cTn>
                                        <p:tgtEl>
                                          <p:spTgt spid="117"/>
                                        </p:tgtEl>
                                        <p:attrNameLst>
                                          <p:attrName>style.visibility</p:attrName>
                                        </p:attrNameLst>
                                      </p:cBhvr>
                                      <p:to>
                                        <p:strVal val="visible"/>
                                      </p:to>
                                    </p:set>
                                    <p:animEffect transition="in" filter="fade">
                                      <p:cBhvr>
                                        <p:cTn id="32" dur="500"/>
                                        <p:tgtEl>
                                          <p:spTgt spid="117"/>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xit" presetSubtype="0" fill="hold" grpId="1" nodeType="clickEffect">
                                  <p:stCondLst>
                                    <p:cond delay="0"/>
                                  </p:stCondLst>
                                  <p:childTnLst>
                                    <p:animEffect transition="out" filter="fade">
                                      <p:cBhvr>
                                        <p:cTn id="36" dur="500"/>
                                        <p:tgtEl>
                                          <p:spTgt spid="155"/>
                                        </p:tgtEl>
                                      </p:cBhvr>
                                    </p:animEffect>
                                    <p:set>
                                      <p:cBhvr>
                                        <p:cTn id="37" dur="1" fill="hold">
                                          <p:stCondLst>
                                            <p:cond delay="499"/>
                                          </p:stCondLst>
                                        </p:cTn>
                                        <p:tgtEl>
                                          <p:spTgt spid="155"/>
                                        </p:tgtEl>
                                        <p:attrNameLst>
                                          <p:attrName>style.visibility</p:attrName>
                                        </p:attrNameLst>
                                      </p:cBhvr>
                                      <p:to>
                                        <p:strVal val="hidden"/>
                                      </p:to>
                                    </p:set>
                                  </p:childTnLst>
                                </p:cTn>
                              </p:par>
                              <p:par>
                                <p:cTn id="38" presetID="10" presetClass="exit" presetSubtype="0" fill="hold" nodeType="withEffect">
                                  <p:stCondLst>
                                    <p:cond delay="0"/>
                                  </p:stCondLst>
                                  <p:childTnLst>
                                    <p:animEffect transition="out" filter="fade">
                                      <p:cBhvr>
                                        <p:cTn id="39" dur="500"/>
                                        <p:tgtEl>
                                          <p:spTgt spid="157"/>
                                        </p:tgtEl>
                                      </p:cBhvr>
                                    </p:animEffect>
                                    <p:set>
                                      <p:cBhvr>
                                        <p:cTn id="40" dur="1" fill="hold">
                                          <p:stCondLst>
                                            <p:cond delay="499"/>
                                          </p:stCondLst>
                                        </p:cTn>
                                        <p:tgtEl>
                                          <p:spTgt spid="157"/>
                                        </p:tgtEl>
                                        <p:attrNameLst>
                                          <p:attrName>style.visibility</p:attrName>
                                        </p:attrNameLst>
                                      </p:cBhvr>
                                      <p:to>
                                        <p:strVal val="hidden"/>
                                      </p:to>
                                    </p:set>
                                  </p:childTnLst>
                                </p:cTn>
                              </p:par>
                            </p:childTnLst>
                          </p:cTn>
                        </p:par>
                        <p:par>
                          <p:cTn id="41" fill="hold">
                            <p:stCondLst>
                              <p:cond delay="500"/>
                            </p:stCondLst>
                            <p:childTnLst>
                              <p:par>
                                <p:cTn id="42" presetID="10" presetClass="entr" presetSubtype="0" fill="hold" nodeType="afterEffect">
                                  <p:stCondLst>
                                    <p:cond delay="0"/>
                                  </p:stCondLst>
                                  <p:childTnLst>
                                    <p:set>
                                      <p:cBhvr>
                                        <p:cTn id="43" dur="1" fill="hold">
                                          <p:stCondLst>
                                            <p:cond delay="0"/>
                                          </p:stCondLst>
                                        </p:cTn>
                                        <p:tgtEl>
                                          <p:spTgt spid="166"/>
                                        </p:tgtEl>
                                        <p:attrNameLst>
                                          <p:attrName>style.visibility</p:attrName>
                                        </p:attrNameLst>
                                      </p:cBhvr>
                                      <p:to>
                                        <p:strVal val="visible"/>
                                      </p:to>
                                    </p:set>
                                    <p:animEffect transition="in" filter="fade">
                                      <p:cBhvr>
                                        <p:cTn id="44" dur="500"/>
                                        <p:tgtEl>
                                          <p:spTgt spid="166"/>
                                        </p:tgtEl>
                                      </p:cBhvr>
                                    </p:animEffect>
                                  </p:childTnLst>
                                </p:cTn>
                              </p:par>
                            </p:childTnLst>
                          </p:cTn>
                        </p:par>
                        <p:par>
                          <p:cTn id="45" fill="hold">
                            <p:stCondLst>
                              <p:cond delay="1000"/>
                            </p:stCondLst>
                            <p:childTnLst>
                              <p:par>
                                <p:cTn id="46" presetID="10" presetClass="entr" presetSubtype="0" fill="hold" grpId="0" nodeType="afterEffect">
                                  <p:stCondLst>
                                    <p:cond delay="0"/>
                                  </p:stCondLst>
                                  <p:childTnLst>
                                    <p:set>
                                      <p:cBhvr>
                                        <p:cTn id="47" dur="1" fill="hold">
                                          <p:stCondLst>
                                            <p:cond delay="0"/>
                                          </p:stCondLst>
                                        </p:cTn>
                                        <p:tgtEl>
                                          <p:spTgt spid="101"/>
                                        </p:tgtEl>
                                        <p:attrNameLst>
                                          <p:attrName>style.visibility</p:attrName>
                                        </p:attrNameLst>
                                      </p:cBhvr>
                                      <p:to>
                                        <p:strVal val="visible"/>
                                      </p:to>
                                    </p:set>
                                    <p:animEffect transition="in" filter="fade">
                                      <p:cBhvr>
                                        <p:cTn id="48" dur="500"/>
                                        <p:tgtEl>
                                          <p:spTgt spid="101"/>
                                        </p:tgtEl>
                                      </p:cBhvr>
                                    </p:animEffect>
                                  </p:childTnLst>
                                </p:cTn>
                              </p:par>
                              <p:par>
                                <p:cTn id="49" presetID="10" presetClass="entr" presetSubtype="0" fill="hold" nodeType="withEffect">
                                  <p:stCondLst>
                                    <p:cond delay="0"/>
                                  </p:stCondLst>
                                  <p:childTnLst>
                                    <p:set>
                                      <p:cBhvr>
                                        <p:cTn id="50" dur="1" fill="hold">
                                          <p:stCondLst>
                                            <p:cond delay="0"/>
                                          </p:stCondLst>
                                        </p:cTn>
                                        <p:tgtEl>
                                          <p:spTgt spid="11"/>
                                        </p:tgtEl>
                                        <p:attrNameLst>
                                          <p:attrName>style.visibility</p:attrName>
                                        </p:attrNameLst>
                                      </p:cBhvr>
                                      <p:to>
                                        <p:strVal val="visible"/>
                                      </p:to>
                                    </p:set>
                                    <p:animEffect transition="in" filter="fade">
                                      <p:cBhvr>
                                        <p:cTn id="51" dur="500"/>
                                        <p:tgtEl>
                                          <p:spTgt spid="11"/>
                                        </p:tgtEl>
                                      </p:cBhvr>
                                    </p:animEffect>
                                  </p:childTnLst>
                                </p:cTn>
                              </p:par>
                              <p:par>
                                <p:cTn id="52" presetID="10" presetClass="entr" presetSubtype="0" fill="hold" nodeType="withEffect">
                                  <p:stCondLst>
                                    <p:cond delay="0"/>
                                  </p:stCondLst>
                                  <p:childTnLst>
                                    <p:set>
                                      <p:cBhvr>
                                        <p:cTn id="53" dur="1" fill="hold">
                                          <p:stCondLst>
                                            <p:cond delay="0"/>
                                          </p:stCondLst>
                                        </p:cTn>
                                        <p:tgtEl>
                                          <p:spTgt spid="161"/>
                                        </p:tgtEl>
                                        <p:attrNameLst>
                                          <p:attrName>style.visibility</p:attrName>
                                        </p:attrNameLst>
                                      </p:cBhvr>
                                      <p:to>
                                        <p:strVal val="visible"/>
                                      </p:to>
                                    </p:set>
                                    <p:animEffect transition="in" filter="fade">
                                      <p:cBhvr>
                                        <p:cTn id="54" dur="500"/>
                                        <p:tgtEl>
                                          <p:spTgt spid="1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119" grpId="0" animBg="1"/>
      <p:bldP spid="155" grpId="0" animBg="1"/>
      <p:bldP spid="155"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31.xml><?xml version="1.0" encoding="utf-8"?>
<p:tagLst xmlns:a="http://schemas.openxmlformats.org/drawingml/2006/main" xmlns:r="http://schemas.openxmlformats.org/officeDocument/2006/relationships" xmlns:p="http://schemas.openxmlformats.org/presentationml/2006/main">
  <p:tag name="MT_TILE" val="YES"/>
</p:tagLst>
</file>

<file path=ppt/tags/tag32.xml><?xml version="1.0" encoding="utf-8"?>
<p:tagLst xmlns:a="http://schemas.openxmlformats.org/drawingml/2006/main" xmlns:r="http://schemas.openxmlformats.org/officeDocument/2006/relationships" xmlns:p="http://schemas.openxmlformats.org/presentationml/2006/main">
  <p:tag name="MT_TILE" val="YES"/>
</p:tagLst>
</file>

<file path=ppt/tags/tag3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8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This deck provides level 200 technical content for Microsoft Azure IoT Hub.
</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feedback requests</TermName>
          <TermId xmlns="http://schemas.microsoft.com/office/infopath/2007/PartnerControls">00ce1828-98a3-430e-af54-eda270e1be04</TermId>
        </TermInfo>
      </Terms>
    </hd9637eefc984b85b6097c6374e15725>
    <k20e0dfa74bf4e44818db03027b0ccd8 xmlns="230e9df3-be65-4c73-a93b-d1236ebd677e">
      <Terms xmlns="http://schemas.microsoft.com/office/infopath/2007/PartnerControls"/>
    </k20e0dfa74bf4e44818db03027b0ccd8>
    <od9986d31974458fb3007746ec0bce5f xmlns="230e9df3-be65-4c73-a93b-d1236ebd677e">
      <Terms xmlns="http://schemas.microsoft.com/office/infopath/2007/PartnerControls"/>
    </od9986d31974458fb3007746ec0bce5f>
    <Owner xmlns="230e9df3-be65-4c73-a93b-d1236ebd677e">
      <UserInfo>
        <DisplayName>Bharat Sandhu</DisplayName>
        <AccountId>226</AccountId>
        <AccountType/>
      </UserInfo>
    </Owner>
    <k21a64daf20d4502b2796a1c6b8ce6c8 xmlns="230e9df3-be65-4c73-a93b-d1236ebd677e">
      <Terms xmlns="http://schemas.microsoft.com/office/infopath/2007/PartnerControls"/>
    </k21a64daf20d4502b2796a1c6b8ce6c8>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Internet of Things Domain</TermName>
          <TermId xmlns="http://schemas.microsoft.com/office/infopath/2007/PartnerControls">34685f97-aa46-4d4d-881b-c9a2cde63bef</TermId>
        </TermInfo>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s>
    </eb54ac91059940029a3cc8a4ff5af673>
    <PublishingPageContent xmlns="http://schemas.microsoft.com/sharepoint/v3" xsi:nil="true"/>
    <ef109fd36bcf4bcd9dd945731030600b xmlns="230e9df3-be65-4c73-a93b-d1236ebd677e">
      <Terms xmlns="http://schemas.microsoft.com/office/infopath/2007/PartnerControls"/>
    </ef109fd36bcf4bcd9dd945731030600b>
    <ec5b2ad5c27b45fb8a00a1f27c7ce1ae xmlns="230e9df3-be65-4c73-a93b-d1236ebd677e">
      <Terms xmlns="http://schemas.microsoft.com/office/infopath/2007/PartnerControls"/>
    </ec5b2ad5c27b45fb8a00a1f27c7ce1ae>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Azure platform</TermName>
          <TermId xmlns="http://schemas.microsoft.com/office/infopath/2007/PartnerControls">df6aaec2-d07c-4319-b510-15a691aea35b</TermId>
        </TermInfo>
      </Terms>
    </bf80e81150e248c48aa8cffdf0021a1f>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KC02-23-82490/Microsoft%20Azure%20IoT%20Hub_L200%20Technical%20deck%20(Customer%20facing).png</Url>
      <Description>https://microsoft.sharepoint.com/sites/Infopedia_G01KC/Media/Thumbnails/KC02-23-82490/Microsoft%20Azure%20IoT%20Hub_L200%20Technical%20deck%20(Customer%20facing).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Cloud Platform (solution)</TermName>
          <TermId xmlns="http://schemas.microsoft.com/office/infopath/2007/PartnerControls">8e62087a-5af4-429b-974d-d6aee352a28f</TermId>
        </TermInfo>
        <TermInfo xmlns="http://schemas.microsoft.com/office/infopath/2007/PartnerControls">
          <TermName xmlns="http://schemas.microsoft.com/office/infopath/2007/PartnerControls">New Conversation</TermName>
          <TermId xmlns="http://schemas.microsoft.com/office/infopath/2007/PartnerControls">5ae50351-4e19-465d-a34a-e592b7a56769</TermId>
        </TermInfo>
        <TermInfo xmlns="http://schemas.microsoft.com/office/infopath/2007/PartnerControls">
          <TermName xmlns="http://schemas.microsoft.com/office/infopath/2007/PartnerControls">Internet of Your Things</TermName>
          <TermId xmlns="http://schemas.microsoft.com/office/infopath/2007/PartnerControls">cb3354bd-6d29-4656-83fb-4e192665ca2b</TermId>
        </TermInfo>
      </Terms>
    </i0d941ee1e744ffea7aeee9924c91cbb>
    <PublishingExpirationDate xmlns="http://schemas.microsoft.com/sharepoint/v3" xsi:nil="true"/>
    <RoutingRuleDescription xmlns="http://schemas.microsoft.com/sharepoint/v3"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TaxCatchAll xmlns="230e9df3-be65-4c73-a93b-d1236ebd677e">
      <Value>164</Value>
      <Value>165</Value>
      <Value>14</Value>
      <Value>80</Value>
      <Value>351</Value>
      <Value>382</Value>
      <Value>294</Value>
      <Value>21</Value>
      <Value>342</Value>
    </TaxCatchAll>
    <mb88723863e1404388ba3733387d48df xmlns="230e9df3-be65-4c73-a93b-d1236ebd677e">
      <Terms xmlns="http://schemas.microsoft.com/office/infopath/2007/PartnerControls"/>
    </mb88723863e1404388ba3733387d48df>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Microsoft Azure platform</TermName>
          <TermId xmlns="http://schemas.microsoft.com/office/infopath/2007/PartnerControls">df6aaec2-d07c-4319-b510-15a691aea35b</TermId>
        </TermInfo>
      </Terms>
    </m6c7b4717b6346e6a075a59dd47eac69>
    <_dlc_DocId xmlns="230e9df3-be65-4c73-a93b-d1236ebd677e">G01KC-99682991-15227</_dlc_DocId>
    <_dlc_DocIdUrl xmlns="230e9df3-be65-4c73-a93b-d1236ebd677e">
      <Url>https://microsoft.sharepoint.com/sites/Infopedia_G01KC/_layouts/15/DocIdRedir.aspx?ID=G01KC-99682991-15227</Url>
      <Description>G01KC-99682991-15227</Description>
    </_dlc_DocIdUrl>
    <AverageRating xmlns="http://schemas.microsoft.com/sharepoint/v3" xsi:nil="true"/>
    <ApplyWorkflowRules xmlns="230E9DF3-BE65-4C73-A93B-D1236EBD677E">Yes</ApplyWorkflowRules>
    <PublishDate xmlns="230E9DF3-BE65-4C73-A93B-D1236EBD677E" xsi:nil="true"/>
    <GenericHTML1 xmlns="230e9df3-be65-4c73-a93b-d1236ebd677e" xsi:nil="true"/>
    <Blog_x0020_Name xmlns="230e9df3-be65-4c73-a93b-d1236ebd677e" xsi:nil="true"/>
    <ContentID xmlns="230e9df3-be65-4c73-a93b-d1236ebd677e">KC02-23-82500</ContentID>
    <Coowner xmlns="230e9df3-be65-4c73-a93b-d1236ebd677e">
      <UserInfo>
        <DisplayName>i:0#.f|membership|v-pebouc@microsoft.com</DisplayName>
        <AccountId>124</AccountId>
        <AccountType/>
      </UserInfo>
      <UserInfo>
        <DisplayName>i:0#.f|membership|v-danaja@microsoft.com</DisplayName>
        <AccountId>176</AccountId>
        <AccountType/>
      </UserInfo>
      <UserInfo>
        <DisplayName>i:0#.f|membership|v-anmarv@microsoft.com</DisplayName>
        <AccountId>45</AccountId>
        <AccountType/>
      </UserInfo>
      <UserInfo>
        <DisplayName>i:0#.f|membership|v-locon@microsoft.com</DisplayName>
        <AccountId>4605</AccountId>
        <AccountType/>
      </UserInfo>
    </Coowner>
    <RatingCount xmlns="http://schemas.microsoft.com/sharepoint/v3" xsi:nil="true"/>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GenericText2 xmlns="230e9df3-be65-4c73-a93b-d1236ebd677e">G01KC-1-10659 KC02-23-82490</GenericText2>
    <Update_x0020_Parent_x0020_Child_x0020_Relation_x0028_1_x0029_0 xmlns="b3bc04a5-d503-43b1-b98c-a8cf663329d9">
      <Url xsi:nil="true"/>
      <Description xsi:nil="true"/>
    </Update_x0020_Parent_x0020_Child_x0020_Relation_x0028_1_x0029_0>
    <_ip_UnifiedCompliancePolicyUIAction xmlns="http://schemas.microsoft.com/sharepoint/v3" xsi:nil="true"/>
    <_ip_UnifiedCompliancePolicyProperties xmlns="http://schemas.microsoft.com/sharepoint/v3" xsi:nil="true"/>
    <ODSWF2_x0028_1_x0029_ xmlns="b3bc04a5-d503-43b1-b98c-a8cf663329d9">
      <Url xsi:nil="true"/>
      <Description xsi:nil="true"/>
    </ODSWF2_x0028_1_x0029_>
    <ODSWF2 xmlns="b3bc04a5-d503-43b1-b98c-a8cf663329d9">
      <Url xsi:nil="true"/>
      <Description xsi:nil="true"/>
    </ODSWF2>
    <ODSWF_x0028_1_x0029_ xmlns="b3bc04a5-d503-43b1-b98c-a8cf663329d9">
      <Url xsi:nil="true"/>
      <Description xsi:nil="true"/>
    </ODSWF_x0028_1_x0029_>
    <ODSWF_x0028_1_x0029_0 xmlns="b3bc04a5-d503-43b1-b98c-a8cf663329d9">
      <Url xsi:nil="true"/>
      <Description xsi:nil="true"/>
    </ODSWF_x0028_1_x0029_0>
    <Update_x0020_Parent_x0020_Child_x0020_Relation_x0028_1_x0029_1 xmlns="b3bc04a5-d503-43b1-b98c-a8cf663329d9">
      <Url xsi:nil="true"/>
      <Description xsi:nil="true"/>
    </Update_x0020_Parent_x0020_Child_x0020_Relation_x0028_1_x0029_1>
    <ODSWF1 xmlns="b3bc04a5-d503-43b1-b98c-a8cf663329d9">
      <Url xsi:nil="true"/>
      <Description xsi:nil="true"/>
    </ODSWF1>
    <ODSWF2_x0028_1_x0029_0 xmlns="b3bc04a5-d503-43b1-b98c-a8cf663329d9">
      <Url xsi:nil="true"/>
      <Description xsi:nil="true"/>
    </ODSWF2_x0028_1_x0029_0>
    <ODSWF_x0028_1_x0029_1 xmlns="b3bc04a5-d503-43b1-b98c-a8cf663329d9">
      <Url xsi:nil="true"/>
      <Description xsi:nil="true"/>
    </ODSWF_x0028_1_x0029_1>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SMSG KM Document" ma:contentTypeID="0x0101000E4CB7077FEE4FF7AE86D4A500EEC7800300F96E2758736AEF45AFCE0C190C2A9DEC00CC074746C0EF6D439A06F1AAD31A3C2B" ma:contentTypeVersion="48" ma:contentTypeDescription="A document content type used by Infopedia." ma:contentTypeScope="" ma:versionID="9ba619dd261563bd5d6ea70122cbd502">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xmlns:ns5="2478d1b8-79bf-461f-b8e8-704d21601f1a" targetNamespace="http://schemas.microsoft.com/office/2006/metadata/properties" ma:root="true" ma:fieldsID="6b687f397214d6103d792076ec318daf" ns1:_="" ns2:_="" ns3:_="" ns4:_="" ns5:_="">
    <xsd:import namespace="http://schemas.microsoft.com/sharepoint/v3"/>
    <xsd:import namespace="230e9df3-be65-4c73-a93b-d1236ebd677e"/>
    <xsd:import namespace="230E9DF3-BE65-4C73-A93B-D1236EBD677E"/>
    <xsd:import namespace="b3bc04a5-d503-43b1-b98c-a8cf663329d9"/>
    <xsd:import namespace="2478d1b8-79bf-461f-b8e8-704d21601f1a"/>
    <xsd:element name="properties">
      <xsd:complexType>
        <xsd:sequence>
          <xsd:element name="documentManagement">
            <xsd:complexType>
              <xsd:all>
                <xsd:element ref="ns1:RoutingRuleDescription" minOccurs="0"/>
                <xsd:element ref="ns2:DocumentDescription" minOccurs="0"/>
                <xsd:element ref="ns2:Owner"/>
                <xsd:element ref="ns3:PublishDate"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hd9637eefc984b85b6097c6374e15725" minOccurs="0"/>
                <xsd:element ref="ns2:TaxCatchAll" minOccurs="0"/>
                <xsd:element ref="ns2:TaxCatchAllLabel" minOccurs="0"/>
                <xsd:element ref="ns2:b4224c12c78d42ea9b214de0badf8358" minOccurs="0"/>
                <xsd:element ref="ns2:_dlc_DocId" minOccurs="0"/>
                <xsd:element ref="ns2:TaxKeywordTaxHTField" minOccurs="0"/>
                <xsd:element ref="ns2:_dlc_DocIdUrl" minOccurs="0"/>
                <xsd:element ref="ns2:_dlc_DocIdPersistId" minOccurs="0"/>
                <xsd:element ref="ns1:ReportOwner" minOccurs="0"/>
                <xsd:element ref="ns2:m6d26e40ac264097a006193f92232ece" minOccurs="0"/>
                <xsd:element ref="ns2:ConfidentialityTaxHTField0" minOccurs="0"/>
                <xsd:element ref="ns2:od9986d31974458fb3007746ec0bce5f" minOccurs="0"/>
                <xsd:element ref="ns2:bf80e81150e248c48aa8cffdf0021a1f" minOccurs="0"/>
                <xsd:element ref="ns2:mb88723863e1404388ba3733387d48df" minOccurs="0"/>
                <xsd:element ref="ns2:l3c3ea61849e4288a8acc49bb5388e8c" minOccurs="0"/>
                <xsd:element ref="ns2:i0d941ee1e744ffea7aeee9924c91cbb" minOccurs="0"/>
                <xsd:element ref="ns2:i1b478372f814787abd313030b81fcb2" minOccurs="0"/>
                <xsd:element ref="ns2:Coowner" minOccurs="0"/>
                <xsd:element ref="ns2:k21a64daf20d4502b2796a1c6b8ce6c8" minOccurs="0"/>
                <xsd:element ref="ns2:b60f8d2dbb984f349d80d8196897f4d3" minOccurs="0"/>
                <xsd:element ref="ns2:ec5b2ad5c27b45fb8a00a1f27c7ce1ae" minOccurs="0"/>
                <xsd:element ref="ns2:m6c7b4717b6346e6a075a59dd47eac69" minOccurs="0"/>
                <xsd:element ref="ns2:kf34bcdc8fc34e479d3f94c6210e8e27" minOccurs="0"/>
                <xsd:element ref="ns2:ef109fd36bcf4bcd9dd945731030600b" minOccurs="0"/>
                <xsd:element ref="ns2:eb54ac91059940029a3cc8a4ff5af673" minOccurs="0"/>
                <xsd:element ref="ns2:k20e0dfa74bf4e44818db03027b0ccd8" minOccurs="0"/>
                <xsd:element ref="ns2:GenericText2" minOccurs="0"/>
                <xsd:element ref="ns2:GenericHTML1" minOccurs="0"/>
                <xsd:element ref="ns4:Update_x0020_Parent_x0020_Child_x0020_Relation_x0028_1_x0029_0" minOccurs="0"/>
                <xsd:element ref="ns1:_ip_UnifiedCompliancePolicyProperties" minOccurs="0"/>
                <xsd:element ref="ns1:_ip_UnifiedCompliancePolicyUIAction" minOccurs="0"/>
                <xsd:element ref="ns5:LastSharedByUser" minOccurs="0"/>
                <xsd:element ref="ns5:LastSharedByTime" minOccurs="0"/>
                <xsd:element ref="ns4:ODSWF2" minOccurs="0"/>
                <xsd:element ref="ns4:Update_x0020_Parent_x0020_Child_x0020_Relation_x0028_1_x0029_1" minOccurs="0"/>
                <xsd:element ref="ns4:ODSWF_x0028_1_x0029_" minOccurs="0"/>
                <xsd:element ref="ns4:ODSWF2_x0028_1_x0029_" minOccurs="0"/>
                <xsd:element ref="ns4:ODSWF_x0028_1_x0029_0" minOccurs="0"/>
                <xsd:element ref="ns4:ODSWF_x0028_1_x0029_1" minOccurs="0"/>
                <xsd:element ref="ns4:ODSWF1" minOccurs="0"/>
                <xsd:element ref="ns4:ODSWF2_x0028_1_x0029_0" minOccurs="0"/>
                <xsd:element ref="ns4:MediaServiceMetadata" minOccurs="0"/>
                <xsd:element ref="ns4: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9" nillable="true" ma:displayName="Page Content" ma:description="Page Content is a site column created by the Publishing feature. It is used on the Article Page Content Type as the content of the page." ma:internalName="PublishingPageContent" ma:readOnly="false">
      <xsd:simpleType>
        <xsd:restriction base="dms:Unknown"/>
      </xsd:simpleType>
    </xsd:element>
    <xsd:element name="AverageRating" ma:index="13" nillable="true" ma:displayName="Rating (0-5)" ma:decimals="2" ma:description="Average value of all the ratings that have been submitted" ma:internalName="AverageRating" ma:readOnly="false">
      <xsd:simpleType>
        <xsd:restriction base="dms:Number"/>
      </xsd:simpleType>
    </xsd:element>
    <xsd:element name="RatingCount" ma:index="14" nillable="true" ma:displayName="Number of Ratings" ma:decimals="0" ma:description="Number of ratings submitted" ma:internalName="RatingCount" ma:readOnly="false">
      <xsd:simpleType>
        <xsd:restriction base="dms:Number"/>
      </xsd:simpleType>
    </xsd:element>
    <xsd:element name="PublishingExpirationDate" ma:index="17" nillable="true" ma:displayName="Scheduling End Date" ma:description="Scheduling End Date is a site column created by the Publishing feature. It is used to specify the date and time on which this page will no longer appear to site visitors." ma:internalName="PublishingExpirationDate" ma:readOnly="false">
      <xsd:simpleType>
        <xsd:restriction base="dms:Unknown"/>
      </xsd:simpleType>
    </xsd:element>
    <xsd:element name="ReportOwner" ma:index="33"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ip_UnifiedCompliancePolicyProperties" ma:index="69" nillable="true" ma:displayName="Unified Compliance Policy Properties" ma:hidden="true" ma:internalName="_ip_UnifiedCompliancePolicyProperties">
      <xsd:simpleType>
        <xsd:restriction base="dms:Note"/>
      </xsd:simpleType>
    </xsd:element>
    <xsd:element name="_ip_UnifiedCompliancePolicyUIAction" ma:index="7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Thumbnail1" ma:index="10"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9" nillable="true" ma:displayName="ContentID" ma:indexed="true" ma:internalName="ContentID">
      <xsd:simpleType>
        <xsd:restriction base="dms:Text">
          <xsd:maxLength value="255"/>
        </xsd:restriction>
      </xsd:simpleType>
    </xsd:element>
    <xsd:element name="Blog_x0020_Name" ma:index="20" nillable="true" ma:displayName="Blog Name" ma:description="Title of an Infopedia Blog" ma:internalName="Blog_x0020_Name">
      <xsd:simpleType>
        <xsd:restriction base="dms:Text">
          <xsd:maxLength value="255"/>
        </xsd:restriction>
      </xsd:simpleType>
    </xsd:element>
    <xsd:element name="hd9637eefc984b85b6097c6374e15725" ma:index="22"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TaxCatchAll" ma:index="2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TaxCatchAllLabel" ma:index="25"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4224c12c78d42ea9b214de0badf8358" ma:index="27"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28" nillable="true" ma:displayName="Document ID Value" ma:description="The value of the document ID assigned to this item." ma:indexed="true" ma:internalName="_dlc_DocId" ma:readOnly="true">
      <xsd:simpleType>
        <xsd:restriction base="dms:Text"/>
      </xsd:simpleType>
    </xsd:element>
    <xsd:element name="TaxKeywordTaxHTField" ma:index="29"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_dlc_DocIdUrl" ma:index="3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m6d26e40ac264097a006193f92232ece" ma:index="35"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ConfidentialityTaxHTField0" ma:index="36"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od9986d31974458fb3007746ec0bce5f" ma:index="37"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b88723863e1404388ba3733387d48df" ma:index="41"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l3c3ea61849e4288a8acc49bb5388e8c" ma:index="43"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45"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Coowner" ma:index="4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21a64daf20d4502b2796a1c6b8ce6c8" ma:index="50"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b60f8d2dbb984f349d80d8196897f4d3" ma:index="52"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ec5b2ad5c27b45fb8a00a1f27c7ce1ae" ma:index="54"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m6c7b4717b6346e6a075a59dd47eac69" ma:index="56"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kf34bcdc8fc34e479d3f94c6210e8e27" ma:index="58"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ef109fd36bcf4bcd9dd945731030600b" ma:index="6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eb54ac91059940029a3cc8a4ff5af673" ma:index="62"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k20e0dfa74bf4e44818db03027b0ccd8" ma:index="64"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GenericText2" ma:index="6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67" nillable="true" ma:displayName="GenericHTML1" ma:description="Generic field for future features in implementation" ma:internalName="GenericHTML1">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ma:readOnly="false">
      <xsd:simpleType>
        <xsd:restriction base="dms:DateTime"/>
      </xsd:simpleType>
    </xsd:element>
    <xsd:element name="ApplyWorkflowRules" ma:index="18"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Update_x0020_Parent_x0020_Child_x0020_Relation_x0028_1_x0029_0" ma:index="68" nillable="true" ma:displayName="Update Parent Child Relation" ma:internalName="Update_x0020_Parent_x0020_Child_x0020_Relation_x0028_1_x0029_0">
      <xsd:complexType>
        <xsd:complexContent>
          <xsd:extension base="dms:URL">
            <xsd:sequence>
              <xsd:element name="Url" type="dms:ValidUrl" minOccurs="0" nillable="true"/>
              <xsd:element name="Description" type="xsd:string" nillable="true"/>
            </xsd:sequence>
          </xsd:extension>
        </xsd:complexContent>
      </xsd:complexType>
    </xsd:element>
    <xsd:element name="ODSWF2" ma:index="73" nillable="true" ma:displayName="ODSWF2" ma:internalName="ODSWF2">
      <xsd:complexType>
        <xsd:complexContent>
          <xsd:extension base="dms:URL">
            <xsd:sequence>
              <xsd:element name="Url" type="dms:ValidUrl" minOccurs="0" nillable="true"/>
              <xsd:element name="Description" type="xsd:string" nillable="true"/>
            </xsd:sequence>
          </xsd:extension>
        </xsd:complexContent>
      </xsd:complexType>
    </xsd:element>
    <xsd:element name="Update_x0020_Parent_x0020_Child_x0020_Relation_x0028_1_x0029_1" ma:index="74" nillable="true" ma:displayName="Update Parent Child Relation" ma:internalName="Update_x0020_Parent_x0020_Child_x0020_Relation_x0028_1_x0029_1">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 ma:index="75" nillable="true" ma:displayName="ODSWF" ma:internalName="ODSWF_x0028_1_x0029_">
      <xsd:complexType>
        <xsd:complexContent>
          <xsd:extension base="dms:URL">
            <xsd:sequence>
              <xsd:element name="Url" type="dms:ValidUrl" minOccurs="0" nillable="true"/>
              <xsd:element name="Description" type="xsd:string" nillable="true"/>
            </xsd:sequence>
          </xsd:extension>
        </xsd:complexContent>
      </xsd:complexType>
    </xsd:element>
    <xsd:element name="ODSWF2_x0028_1_x0029_" ma:index="76" nillable="true" ma:displayName="ODSWF2" ma:internalName="ODSWF2_x0028_1_x0029_">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0" ma:index="77" nillable="true" ma:displayName="ODSWF" ma:internalName="ODSWF_x0028_1_x0029_0">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1" ma:index="78" nillable="true" ma:displayName="ODSWF" ma:internalName="ODSWF_x0028_1_x0029_1">
      <xsd:complexType>
        <xsd:complexContent>
          <xsd:extension base="dms:URL">
            <xsd:sequence>
              <xsd:element name="Url" type="dms:ValidUrl" minOccurs="0" nillable="true"/>
              <xsd:element name="Description" type="xsd:string" nillable="true"/>
            </xsd:sequence>
          </xsd:extension>
        </xsd:complexContent>
      </xsd:complexType>
    </xsd:element>
    <xsd:element name="ODSWF1" ma:index="79" nillable="true" ma:displayName="ODSWF1" ma:internalName="ODSWF1">
      <xsd:complexType>
        <xsd:complexContent>
          <xsd:extension base="dms:URL">
            <xsd:sequence>
              <xsd:element name="Url" type="dms:ValidUrl" minOccurs="0" nillable="true"/>
              <xsd:element name="Description" type="xsd:string" nillable="true"/>
            </xsd:sequence>
          </xsd:extension>
        </xsd:complexContent>
      </xsd:complexType>
    </xsd:element>
    <xsd:element name="ODSWF2_x0028_1_x0029_0" ma:index="80" nillable="true" ma:displayName="ODSWF2" ma:internalName="ODSWF2_x0028_1_x0029_0">
      <xsd:complexType>
        <xsd:complexContent>
          <xsd:extension base="dms:URL">
            <xsd:sequence>
              <xsd:element name="Url" type="dms:ValidUrl" minOccurs="0" nillable="true"/>
              <xsd:element name="Description" type="xsd:string" nillable="true"/>
            </xsd:sequence>
          </xsd:extension>
        </xsd:complexContent>
      </xsd:complexType>
    </xsd:element>
    <xsd:element name="MediaServiceMetadata" ma:index="81" nillable="true" ma:displayName="MediaServiceMetadata" ma:description="" ma:hidden="true" ma:internalName="MediaServiceMetadata" ma:readOnly="true">
      <xsd:simpleType>
        <xsd:restriction base="dms:Note"/>
      </xsd:simpleType>
    </xsd:element>
    <xsd:element name="MediaServiceFastMetadata" ma:index="82"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478d1b8-79bf-461f-b8e8-704d21601f1a" elementFormDefault="qualified">
    <xsd:import namespace="http://schemas.microsoft.com/office/2006/documentManagement/types"/>
    <xsd:import namespace="http://schemas.microsoft.com/office/infopath/2007/PartnerControls"/>
    <xsd:element name="LastSharedByUser" ma:index="71" nillable="true" ma:displayName="Last Shared By User" ma:description="" ma:internalName="LastSharedByUser" ma:readOnly="true">
      <xsd:simpleType>
        <xsd:restriction base="dms:Note">
          <xsd:maxLength value="255"/>
        </xsd:restriction>
      </xsd:simpleType>
    </xsd:element>
    <xsd:element name="LastSharedByTime" ma:index="72"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haredContentType xmlns="Microsoft.SharePoint.Taxonomy.ContentTypeSync" SourceId="e385fb40-52d4-4fae-9c5b-3e8ff8a5878e" ContentTypeId="0x0101000E4CB7077FEE4FF7AE86D4A500EEC7800300F96E2758736AEF45AFCE0C190C2A9DEC" PreviousValue="false"/>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A63E41B3-25E6-465A-9576-E6B2B45AE0F2}">
  <ds:schemaRefs>
    <ds:schemaRef ds:uri="2478d1b8-79bf-461f-b8e8-704d21601f1a"/>
    <ds:schemaRef ds:uri="http://purl.org/dc/elements/1.1/"/>
    <ds:schemaRef ds:uri="http://schemas.microsoft.com/office/2006/metadata/properties"/>
    <ds:schemaRef ds:uri="b3bc04a5-d503-43b1-b98c-a8cf663329d9"/>
    <ds:schemaRef ds:uri="http://schemas.microsoft.com/sharepoint/v3"/>
    <ds:schemaRef ds:uri="http://schemas.microsoft.com/office/infopath/2007/PartnerControls"/>
    <ds:schemaRef ds:uri="http://purl.org/dc/terms/"/>
    <ds:schemaRef ds:uri="http://schemas.openxmlformats.org/package/2006/metadata/core-properties"/>
    <ds:schemaRef ds:uri="230e9df3-be65-4c73-a93b-d1236ebd677e"/>
    <ds:schemaRef ds:uri="http://schemas.microsoft.com/office/2006/documentManagement/types"/>
    <ds:schemaRef ds:uri="230E9DF3-BE65-4C73-A93B-D1236EBD677E"/>
    <ds:schemaRef ds:uri="http://www.w3.org/XML/1998/namespace"/>
    <ds:schemaRef ds:uri="http://purl.org/dc/dcmitype/"/>
  </ds:schemaRefs>
</ds:datastoreItem>
</file>

<file path=customXml/itemProps2.xml><?xml version="1.0" encoding="utf-8"?>
<ds:datastoreItem xmlns:ds="http://schemas.openxmlformats.org/officeDocument/2006/customXml" ds:itemID="{D0D0DE92-1F8F-4343-B74D-EAF29145FCB7}">
  <ds:schemaRefs>
    <ds:schemaRef ds:uri="http://schemas.microsoft.com/sharepoint/v3/contenttype/forms"/>
  </ds:schemaRefs>
</ds:datastoreItem>
</file>

<file path=customXml/itemProps3.xml><?xml version="1.0" encoding="utf-8"?>
<ds:datastoreItem xmlns:ds="http://schemas.openxmlformats.org/officeDocument/2006/customXml" ds:itemID="{ADA76B43-B089-4556-9A10-4D94967394F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2478d1b8-79bf-461f-b8e8-704d21601f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E798F2F4-BE5E-4B49-9162-76AA7BF1E404}">
  <ds:schemaRefs>
    <ds:schemaRef ds:uri="Microsoft.SharePoint.Taxonomy.ContentTypeSync"/>
  </ds:schemaRefs>
</ds:datastoreItem>
</file>

<file path=customXml/itemProps5.xml><?xml version="1.0" encoding="utf-8"?>
<ds:datastoreItem xmlns:ds="http://schemas.openxmlformats.org/officeDocument/2006/customXml" ds:itemID="{572948CB-DFFB-4F66-A264-81D7C54282C9}">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
  <TotalTime>16202</TotalTime>
  <Words>4912</Words>
  <Application>Microsoft Office PowerPoint</Application>
  <PresentationFormat>Custom</PresentationFormat>
  <Paragraphs>530</Paragraphs>
  <Slides>28</Slides>
  <Notes>26</Notes>
  <HiddenSlides>14</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41" baseType="lpstr">
      <vt:lpstr>ＭＳ Ｐゴシック</vt:lpstr>
      <vt:lpstr>ＭＳ Ｐゴシック</vt:lpstr>
      <vt:lpstr>Arial</vt:lpstr>
      <vt:lpstr>Courier New</vt:lpstr>
      <vt:lpstr>OCR A Extended</vt:lpstr>
      <vt:lpstr>Segoe Semibold</vt:lpstr>
      <vt:lpstr>Segoe UI</vt:lpstr>
      <vt:lpstr>Segoe UI Light</vt:lpstr>
      <vt:lpstr>Segoe UI Semibold</vt:lpstr>
      <vt:lpstr>Webdings</vt:lpstr>
      <vt:lpstr>Wingdings</vt:lpstr>
      <vt:lpstr>8_3-30680_Worldwide Partner Conference 2015 </vt:lpstr>
      <vt:lpstr>think-cell Slide</vt:lpstr>
      <vt:lpstr>PowerPoint Presentation</vt:lpstr>
      <vt:lpstr>Elements of Azure IoT Suite </vt:lpstr>
      <vt:lpstr>PowerPoint Presentation</vt:lpstr>
      <vt:lpstr>IOT Solution Architecture</vt:lpstr>
      <vt:lpstr>Introducing Microsoft Azure IoT Hub</vt:lpstr>
      <vt:lpstr>IOT Solution Architecture</vt:lpstr>
      <vt:lpstr>Why use IoT Hub?</vt:lpstr>
      <vt:lpstr>Communication Scenarios</vt:lpstr>
      <vt:lpstr>Inside the IoT Hub</vt:lpstr>
      <vt:lpstr>Information Exchange Patterns Basics of IoT Communication</vt:lpstr>
      <vt:lpstr>Device Management – Device Twins</vt:lpstr>
      <vt:lpstr>Device Management – Device Twins</vt:lpstr>
      <vt:lpstr>Device Management Patterns - Reboot</vt:lpstr>
      <vt:lpstr>Device Management Patterns – Factory Reset</vt:lpstr>
      <vt:lpstr>Device Management Patterns – Configuration</vt:lpstr>
      <vt:lpstr>Communication Patterns – Device to Cloud</vt:lpstr>
      <vt:lpstr>Communication Patterns – Cloud to Device</vt:lpstr>
      <vt:lpstr>IoT Hub endpoints</vt:lpstr>
      <vt:lpstr>Azure IoT SDKs</vt:lpstr>
      <vt:lpstr>Azure IoT Services</vt:lpstr>
      <vt:lpstr>A sample scenario</vt:lpstr>
      <vt:lpstr>IoT Hub helps connect your devices to Azure </vt:lpstr>
      <vt:lpstr>PowerPoint Presentation</vt:lpstr>
      <vt:lpstr>Remote monitoring preconfigured solution</vt:lpstr>
      <vt:lpstr>Predictive maintenance solution</vt:lpstr>
      <vt:lpstr>Azure Portal</vt:lpstr>
      <vt:lpstr>Azure Portal</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Azure IoT Hub L200 Technical deck (Customer facing)</dc:title>
  <dc:subject>&lt;Speech title here&gt;</dc:subject>
  <dc:creator>&lt;Speaker name here&gt;</dc:creator>
  <cp:keywords/>
  <dc:description>Template: Maryfj_x000d_
Formatting: _x000d_
Audience Type:</dc:description>
  <cp:lastModifiedBy>Mikael Håkansson</cp:lastModifiedBy>
  <cp:revision>459</cp:revision>
  <cp:lastPrinted>2017-06-01T00:38:32Z</cp:lastPrinted>
  <dcterms:created xsi:type="dcterms:W3CDTF">2014-06-10T19:28:25Z</dcterms:created>
  <dcterms:modified xsi:type="dcterms:W3CDTF">2017-06-07T20:23: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F96E2758736AEF45AFCE0C190C2A9DEC00CC074746C0EF6D439A06F1AAD31A3C2B</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PublishingExpirationDate">
    <vt:lpwstr/>
  </property>
  <property fmtid="{D5CDD505-2E9C-101B-9397-08002B2CF9AE}" pid="12" name="PublishingStartDate">
    <vt:lpwstr/>
  </property>
  <property fmtid="{D5CDD505-2E9C-101B-9397-08002B2CF9AE}" pid="13" name="TaxKeyword">
    <vt:lpwstr/>
  </property>
  <property fmtid="{D5CDD505-2E9C-101B-9397-08002B2CF9AE}" pid="14" name="Audiences">
    <vt:lpwstr/>
  </property>
  <property fmtid="{D5CDD505-2E9C-101B-9397-08002B2CF9AE}" pid="15" name="Region">
    <vt:lpwstr/>
  </property>
  <property fmtid="{D5CDD505-2E9C-101B-9397-08002B2CF9AE}" pid="16" name="Confidentiality">
    <vt:lpwstr>14;#customer ready|8986c41d-21c5-4f8f-8a12-ea4625b46858</vt:lpwstr>
  </property>
  <property fmtid="{D5CDD505-2E9C-101B-9397-08002B2CF9AE}" pid="17" name="Industries">
    <vt:lpwstr/>
  </property>
  <property fmtid="{D5CDD505-2E9C-101B-9397-08002B2CF9AE}" pid="18" name="Roles">
    <vt:lpwstr/>
  </property>
  <property fmtid="{D5CDD505-2E9C-101B-9397-08002B2CF9AE}" pid="19" name="Competitors">
    <vt:lpwstr/>
  </property>
  <property fmtid="{D5CDD505-2E9C-101B-9397-08002B2CF9AE}" pid="20" name="SMSGDomain">
    <vt:lpwstr>294;#Internet of Things Domain|34685f97-aa46-4d4d-881b-c9a2cde63bef;#21;#Cloud and Enterprise|adc2fe87-c79a-4ded-a449-3f86b954069d</vt:lpwstr>
  </property>
  <property fmtid="{D5CDD505-2E9C-101B-9397-08002B2CF9AE}" pid="21" name="BusinessArchitecture">
    <vt:lpwstr>164;#Cloud Platform (solution)|8e62087a-5af4-429b-974d-d6aee352a28f;#165;#New Conversation|5ae50351-4e19-465d-a34a-e592b7a56769;#382;#Internet of Your Things|cb3354bd-6d29-4656-83fb-4e192665ca2b</vt:lpwstr>
  </property>
  <property fmtid="{D5CDD505-2E9C-101B-9397-08002B2CF9AE}" pid="22" name="Products">
    <vt:lpwstr>80;#Microsoft Azure platform|df6aaec2-d07c-4319-b510-15a691aea35b</vt:lpwstr>
  </property>
  <property fmtid="{D5CDD505-2E9C-101B-9397-08002B2CF9AE}" pid="23" name="ActivitiesAndPrograms">
    <vt:lpwstr/>
  </property>
  <property fmtid="{D5CDD505-2E9C-101B-9397-08002B2CF9AE}" pid="24" name="Segments">
    <vt:lpwstr/>
  </property>
  <property fmtid="{D5CDD505-2E9C-101B-9397-08002B2CF9AE}" pid="25" name="Partners">
    <vt:lpwstr/>
  </property>
  <property fmtid="{D5CDD505-2E9C-101B-9397-08002B2CF9AE}" pid="26" name="Topics">
    <vt:lpwstr>342;#Microsoft Azure platform|df6aaec2-d07c-4319-b510-15a691aea35b</vt:lpwstr>
  </property>
  <property fmtid="{D5CDD505-2E9C-101B-9397-08002B2CF9AE}" pid="27" name="Groups">
    <vt:lpwstr/>
  </property>
  <property fmtid="{D5CDD505-2E9C-101B-9397-08002B2CF9AE}" pid="28" name="_dlc_policyId">
    <vt:lpwstr/>
  </property>
  <property fmtid="{D5CDD505-2E9C-101B-9397-08002B2CF9AE}" pid="29" name="ItemRetentionFormula">
    <vt:lpwstr/>
  </property>
  <property fmtid="{D5CDD505-2E9C-101B-9397-08002B2CF9AE}" pid="30" name="_dlc_DocIdItemGuid">
    <vt:lpwstr>4820fac5-d1ee-499b-9484-66d3f376752d</vt:lpwstr>
  </property>
  <property fmtid="{D5CDD505-2E9C-101B-9397-08002B2CF9AE}" pid="31" name="p1cd454bacc149bfbcfd764edd279de7">
    <vt:lpwstr/>
  </property>
  <property fmtid="{D5CDD505-2E9C-101B-9397-08002B2CF9AE}" pid="32" name="ItemType">
    <vt:lpwstr>351;#feedback requests|00ce1828-98a3-430e-af54-eda270e1be04</vt:lpwstr>
  </property>
  <property fmtid="{D5CDD505-2E9C-101B-9397-08002B2CF9AE}" pid="33" name="bc28b5f076654a3b96073bbbebfeb8c9">
    <vt:lpwstr/>
  </property>
  <property fmtid="{D5CDD505-2E9C-101B-9397-08002B2CF9AE}" pid="34" name="j4d667fb28274e85b2214f6e751c8d1f">
    <vt:lpwstr/>
  </property>
  <property fmtid="{D5CDD505-2E9C-101B-9397-08002B2CF9AE}" pid="35" name="MSProducts">
    <vt:lpwstr/>
  </property>
  <property fmtid="{D5CDD505-2E9C-101B-9397-08002B2CF9AE}" pid="36" name="SMSGTags">
    <vt:lpwstr/>
  </property>
  <property fmtid="{D5CDD505-2E9C-101B-9397-08002B2CF9AE}" pid="37" name="j031aa32f4154c8c9a646efae715ebde">
    <vt:lpwstr/>
  </property>
  <property fmtid="{D5CDD505-2E9C-101B-9397-08002B2CF9AE}" pid="38" name="EnterpriseDomainTags">
    <vt:lpwstr/>
  </property>
  <property fmtid="{D5CDD505-2E9C-101B-9397-08002B2CF9AE}" pid="39" name="l311460e3fdf46688abc31ddb7bdc05a">
    <vt:lpwstr/>
  </property>
  <property fmtid="{D5CDD505-2E9C-101B-9397-08002B2CF9AE}" pid="40" name="la4444b61d19467597d63190b69ac227">
    <vt:lpwstr/>
  </property>
  <property fmtid="{D5CDD505-2E9C-101B-9397-08002B2CF9AE}" pid="41" name="MSProductsTaxHTField0">
    <vt:lpwstr/>
  </property>
  <property fmtid="{D5CDD505-2E9C-101B-9397-08002B2CF9AE}" pid="42" name="_docset_NoMedatataSyncRequired">
    <vt:lpwstr>False</vt:lpwstr>
  </property>
  <property fmtid="{D5CDD505-2E9C-101B-9397-08002B2CF9AE}" pid="43" name="Languages">
    <vt:lpwstr/>
  </property>
  <property fmtid="{D5CDD505-2E9C-101B-9397-08002B2CF9AE}" pid="44" name="messageframeworktype">
    <vt:lpwstr/>
  </property>
  <property fmtid="{D5CDD505-2E9C-101B-9397-08002B2CF9AE}" pid="45" name="MSLanguage">
    <vt:lpwstr/>
  </property>
  <property fmtid="{D5CDD505-2E9C-101B-9397-08002B2CF9AE}" pid="46" name="cb7870d3641f4a52807a63577a9c1b08">
    <vt:lpwstr/>
  </property>
  <property fmtid="{D5CDD505-2E9C-101B-9397-08002B2CF9AE}" pid="47" name="TechnicalLevel">
    <vt:lpwstr/>
  </property>
  <property fmtid="{D5CDD505-2E9C-101B-9397-08002B2CF9AE}" pid="48" name="LearningOrganization">
    <vt:lpwstr/>
  </property>
  <property fmtid="{D5CDD505-2E9C-101B-9397-08002B2CF9AE}" pid="49" name="EmployeeRole">
    <vt:lpwstr/>
  </property>
  <property fmtid="{D5CDD505-2E9C-101B-9397-08002B2CF9AE}" pid="50" name="LearningDeliveryMethod">
    <vt:lpwstr/>
  </property>
  <property fmtid="{D5CDD505-2E9C-101B-9397-08002B2CF9AE}" pid="51" name="SalesGeography">
    <vt:lpwstr/>
  </property>
  <property fmtid="{D5CDD505-2E9C-101B-9397-08002B2CF9AE}" pid="52" name="WorkflowChangePath">
    <vt:lpwstr>4c942473-d120-4286-a51a-b65ad3d92ffb,18;</vt:lpwstr>
  </property>
  <property fmtid="{D5CDD505-2E9C-101B-9397-08002B2CF9AE}" pid="53" name="ldac8aee9d1f469e8cd8c3f8d6a615f2">
    <vt:lpwstr/>
  </property>
  <property fmtid="{D5CDD505-2E9C-101B-9397-08002B2CF9AE}" pid="54" name="ContentExtensions">
    <vt:lpwstr/>
  </property>
  <property fmtid="{D5CDD505-2E9C-101B-9397-08002B2CF9AE}" pid="55" name="of67e5d4b76f4a9db8769983fda9cec0">
    <vt:lpwstr/>
  </property>
  <property fmtid="{D5CDD505-2E9C-101B-9397-08002B2CF9AE}" pid="56" name="NewsType">
    <vt:lpwstr/>
  </property>
  <property fmtid="{D5CDD505-2E9C-101B-9397-08002B2CF9AE}" pid="57" name="ga0c0bf70a6644469c61b3efa7025301">
    <vt:lpwstr/>
  </property>
  <property fmtid="{D5CDD505-2E9C-101B-9397-08002B2CF9AE}" pid="58" name="ExperienceContentType">
    <vt:lpwstr/>
  </property>
  <property fmtid="{D5CDD505-2E9C-101B-9397-08002B2CF9AE}" pid="59" name="l6f004f21209409da86a713c0f24627d">
    <vt:lpwstr/>
  </property>
  <property fmtid="{D5CDD505-2E9C-101B-9397-08002B2CF9AE}" pid="60" name="e8080b0481964c759b2c36ae49591b31">
    <vt:lpwstr/>
  </property>
  <property fmtid="{D5CDD505-2E9C-101B-9397-08002B2CF9AE}" pid="61" name="NewsTopic">
    <vt:lpwstr/>
  </property>
  <property fmtid="{D5CDD505-2E9C-101B-9397-08002B2CF9AE}" pid="62" name="NewsSource">
    <vt:lpwstr/>
  </property>
  <property fmtid="{D5CDD505-2E9C-101B-9397-08002B2CF9AE}" pid="63" name="MSPhysicalGeography">
    <vt:lpwstr/>
  </property>
  <property fmtid="{D5CDD505-2E9C-101B-9397-08002B2CF9AE}" pid="64" name="j3562c58ee414e028925bc902cfc01a1">
    <vt:lpwstr/>
  </property>
</Properties>
</file>